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2.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1.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notesSlides/notesSlide2.xml" ContentType="application/vnd.openxmlformats-officedocument.presentationml.notesSlide+xml"/>
  <Override PartName="/ppt/tags/tag95.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2"/>
  </p:notesMasterIdLst>
  <p:sldIdLst>
    <p:sldId id="256" r:id="rId2"/>
    <p:sldId id="1183" r:id="rId3"/>
    <p:sldId id="1178" r:id="rId4"/>
    <p:sldId id="1176" r:id="rId5"/>
    <p:sldId id="257" r:id="rId6"/>
    <p:sldId id="261" r:id="rId7"/>
    <p:sldId id="258" r:id="rId8"/>
    <p:sldId id="1181" r:id="rId9"/>
    <p:sldId id="304" r:id="rId10"/>
    <p:sldId id="1187" r:id="rId11"/>
    <p:sldId id="1185" r:id="rId12"/>
    <p:sldId id="1151" r:id="rId13"/>
    <p:sldId id="1153" r:id="rId14"/>
    <p:sldId id="1154" r:id="rId15"/>
    <p:sldId id="1158" r:id="rId16"/>
    <p:sldId id="1159" r:id="rId17"/>
    <p:sldId id="1160" r:id="rId18"/>
    <p:sldId id="1173" r:id="rId19"/>
    <p:sldId id="1161" r:id="rId20"/>
    <p:sldId id="1162" r:id="rId21"/>
    <p:sldId id="1172" r:id="rId22"/>
    <p:sldId id="1190" r:id="rId23"/>
    <p:sldId id="1156" r:id="rId24"/>
    <p:sldId id="1157" r:id="rId25"/>
    <p:sldId id="1166" r:id="rId26"/>
    <p:sldId id="1167" r:id="rId27"/>
    <p:sldId id="1168" r:id="rId28"/>
    <p:sldId id="1174" r:id="rId29"/>
    <p:sldId id="1169" r:id="rId30"/>
    <p:sldId id="1182" r:id="rId31"/>
  </p:sldIdLst>
  <p:sldSz cx="12192000" cy="6858000"/>
  <p:notesSz cx="6858000" cy="9144000"/>
  <p:custDataLst>
    <p:tags r:id="rId33"/>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Introductie" id="{3056D076-9D5E-40AC-87EF-D4544850028B}">
          <p14:sldIdLst>
            <p14:sldId id="256"/>
            <p14:sldId id="1183"/>
            <p14:sldId id="1178"/>
          </p14:sldIdLst>
        </p14:section>
        <p14:section name="Uitleg" id="{BC9CC0E1-F287-4B5E-84C1-B5FF3ABFF4EA}">
          <p14:sldIdLst>
            <p14:sldId id="1176"/>
            <p14:sldId id="257"/>
            <p14:sldId id="261"/>
            <p14:sldId id="258"/>
          </p14:sldIdLst>
        </p14:section>
        <p14:section name="Oefencase" id="{C5DD0CB1-114F-41F8-924F-C421F7C9209E}">
          <p14:sldIdLst>
            <p14:sldId id="1181"/>
            <p14:sldId id="304"/>
            <p14:sldId id="1187"/>
            <p14:sldId id="1185"/>
            <p14:sldId id="1151"/>
            <p14:sldId id="1153"/>
            <p14:sldId id="1154"/>
            <p14:sldId id="1158"/>
            <p14:sldId id="1159"/>
            <p14:sldId id="1160"/>
            <p14:sldId id="1173"/>
            <p14:sldId id="1161"/>
            <p14:sldId id="1162"/>
            <p14:sldId id="1172"/>
            <p14:sldId id="1190"/>
            <p14:sldId id="1156"/>
            <p14:sldId id="1157"/>
            <p14:sldId id="1166"/>
            <p14:sldId id="1167"/>
            <p14:sldId id="1168"/>
            <p14:sldId id="1174"/>
            <p14:sldId id="1169"/>
            <p14:sldId id="118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83968BB-92A1-48F3-AB85-775C85E39E97}" name="Eva Nivard" initials="EN" userId="S::evanivard@itspublic.onmicrosoft.com::20b5cb85-fd9d-46e0-a7bf-7a96ac92ca8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4660"/>
  </p:normalViewPr>
  <p:slideViewPr>
    <p:cSldViewPr snapToGrid="0">
      <p:cViewPr varScale="1">
        <p:scale>
          <a:sx n="110" d="100"/>
          <a:sy n="110" d="100"/>
        </p:scale>
        <p:origin x="516" y="108"/>
      </p:cViewPr>
      <p:guideLst/>
    </p:cSldViewPr>
  </p:slid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microsoft.com/office/2018/10/relationships/authors" Targe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405342106564512E-2"/>
          <c:y val="8.6965757246333791E-3"/>
          <c:w val="0.97759465789343536"/>
          <c:h val="0.98260684855073321"/>
        </c:manualLayout>
      </c:layout>
      <c:barChart>
        <c:barDir val="bar"/>
        <c:grouping val="stacked"/>
        <c:varyColors val="0"/>
        <c:ser>
          <c:idx val="0"/>
          <c:order val="0"/>
          <c:tx>
            <c:strRef>
              <c:f>Sheet1!$B$1</c:f>
              <c:strCache>
                <c:ptCount val="1"/>
                <c:pt idx="0">
                  <c:v>Series 1</c:v>
                </c:pt>
              </c:strCache>
            </c:strRef>
          </c:tx>
          <c:spPr>
            <a:solidFill>
              <a:srgbClr val="EC6224"/>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27579488583104139"/>
                      <c:h val="0.11728776878226581"/>
                    </c:manualLayout>
                  </c15:layout>
                </c:ext>
                <c:ext xmlns:c16="http://schemas.microsoft.com/office/drawing/2014/chart" uri="{C3380CC4-5D6E-409C-BE32-E72D297353CC}">
                  <c16:uniqueId val="{00000005-0D0D-4E30-A94F-F9FDB144941F}"/>
                </c:ext>
              </c:extLst>
            </c:dLbl>
            <c:dLbl>
              <c:idx val="1"/>
              <c:dLblPos val="ctr"/>
              <c:showLegendKey val="0"/>
              <c:showVal val="1"/>
              <c:showCatName val="0"/>
              <c:showSerName val="0"/>
              <c:showPercent val="0"/>
              <c:showBubbleSize val="0"/>
              <c:extLst>
                <c:ext xmlns:c15="http://schemas.microsoft.com/office/drawing/2012/chart" uri="{CE6537A1-D6FC-4f65-9D91-7224C49458BB}">
                  <c15:layout>
                    <c:manualLayout>
                      <c:w val="0.27149653527340362"/>
                      <c:h val="0.11728776878226581"/>
                    </c:manualLayout>
                  </c15:layout>
                </c:ext>
                <c:ext xmlns:c16="http://schemas.microsoft.com/office/drawing/2014/chart" uri="{C3380CC4-5D6E-409C-BE32-E72D297353CC}">
                  <c16:uniqueId val="{00000004-0D0D-4E30-A94F-F9FDB144941F}"/>
                </c:ext>
              </c:extLst>
            </c:dLbl>
            <c:dLbl>
              <c:idx val="6"/>
              <c:dLblPos val="ctr"/>
              <c:showLegendKey val="0"/>
              <c:showVal val="1"/>
              <c:showCatName val="0"/>
              <c:showSerName val="0"/>
              <c:showPercent val="0"/>
              <c:showBubbleSize val="0"/>
              <c:extLst>
                <c:ext xmlns:c15="http://schemas.microsoft.com/office/drawing/2012/chart" uri="{CE6537A1-D6FC-4f65-9D91-7224C49458BB}">
                  <c15:layout>
                    <c:manualLayout>
                      <c:w val="0.27476775516030155"/>
                      <c:h val="0.11728776878226581"/>
                    </c:manualLayout>
                  </c15:layout>
                </c:ext>
                <c:ext xmlns:c16="http://schemas.microsoft.com/office/drawing/2014/chart" uri="{C3380CC4-5D6E-409C-BE32-E72D297353CC}">
                  <c16:uniqueId val="{00000003-0D0D-4E30-A94F-F9FDB144941F}"/>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Nederland</c:v>
                </c:pt>
                <c:pt idx="1">
                  <c:v>MRA</c:v>
                </c:pt>
                <c:pt idx="2">
                  <c:v>Amsterdam Centerdata</c:v>
                </c:pt>
                <c:pt idx="3">
                  <c:v>Rotterdam</c:v>
                </c:pt>
                <c:pt idx="4">
                  <c:v>Den Haag</c:v>
                </c:pt>
                <c:pt idx="5">
                  <c:v>Utrecht</c:v>
                </c:pt>
                <c:pt idx="6">
                  <c:v>Friesland</c:v>
                </c:pt>
              </c:strCache>
            </c:strRef>
          </c:cat>
          <c:val>
            <c:numRef>
              <c:f>Sheet1!$B$2:$B$8</c:f>
              <c:numCache>
                <c:formatCode>General</c:formatCode>
                <c:ptCount val="7"/>
                <c:pt idx="6" formatCode="0.0%">
                  <c:v>-5.0999999999999997E-2</c:v>
                </c:pt>
              </c:numCache>
            </c:numRef>
          </c:val>
          <c:extLst>
            <c:ext xmlns:c16="http://schemas.microsoft.com/office/drawing/2014/chart" uri="{C3380CC4-5D6E-409C-BE32-E72D297353CC}">
              <c16:uniqueId val="{00000000-0D0D-4E30-A94F-F9FDB144941F}"/>
            </c:ext>
          </c:extLst>
        </c:ser>
        <c:ser>
          <c:idx val="1"/>
          <c:order val="1"/>
          <c:tx>
            <c:strRef>
              <c:f>Sheet1!$C$1</c:f>
              <c:strCache>
                <c:ptCount val="1"/>
                <c:pt idx="0">
                  <c:v>Series 2</c:v>
                </c:pt>
              </c:strCache>
            </c:strRef>
          </c:tx>
          <c:spPr>
            <a:solidFill>
              <a:srgbClr val="00B050"/>
            </a:solidFill>
            <a:ln>
              <a:noFill/>
            </a:ln>
            <a:effectLst/>
          </c:spPr>
          <c:invertIfNegative val="0"/>
          <c:dLbls>
            <c:dLbl>
              <c:idx val="0"/>
              <c:tx>
                <c:rich>
                  <a:bodyPr/>
                  <a:lstStyle/>
                  <a:p>
                    <a:r>
                      <a:rPr lang="en-US" dirty="0"/>
                      <a:t>1,0%</a:t>
                    </a:r>
                  </a:p>
                </c:rich>
              </c:tx>
              <c:dLblPos val="ctr"/>
              <c:showLegendKey val="0"/>
              <c:showVal val="1"/>
              <c:showCatName val="0"/>
              <c:showSerName val="0"/>
              <c:showPercent val="0"/>
              <c:showBubbleSize val="0"/>
              <c:extLst>
                <c:ext xmlns:c15="http://schemas.microsoft.com/office/drawing/2012/chart" uri="{CE6537A1-D6FC-4f65-9D91-7224C49458BB}">
                  <c15:layout>
                    <c:manualLayout>
                      <c:w val="0.22996175483362102"/>
                      <c:h val="8.1823508569948078E-2"/>
                    </c:manualLayout>
                  </c15:layout>
                  <c15:showDataLabelsRange val="0"/>
                </c:ext>
                <c:ext xmlns:c16="http://schemas.microsoft.com/office/drawing/2014/chart" uri="{C3380CC4-5D6E-409C-BE32-E72D297353CC}">
                  <c16:uniqueId val="{00000002-B82B-4A8C-8A8F-D175ACA43220}"/>
                </c:ext>
              </c:extLst>
            </c:dLbl>
            <c:dLbl>
              <c:idx val="1"/>
              <c:numFmt formatCode="0.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layout>
                    <c:manualLayout>
                      <c:w val="0.2571064051456598"/>
                      <c:h val="8.1823508569948078E-2"/>
                    </c:manualLayout>
                  </c15:layout>
                </c:ext>
                <c:ext xmlns:c16="http://schemas.microsoft.com/office/drawing/2014/chart" uri="{C3380CC4-5D6E-409C-BE32-E72D297353CC}">
                  <c16:uniqueId val="{00000006-0D0D-4E30-A94F-F9FDB144941F}"/>
                </c:ext>
              </c:extLst>
            </c:dLbl>
            <c:dLbl>
              <c:idx val="4"/>
              <c:layout>
                <c:manualLayout>
                  <c:x val="0.10278701165307705"/>
                  <c:y val="1.429825998089093E-7"/>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0.22010321338860411"/>
                      <c:h val="8.1823508569948078E-2"/>
                    </c:manualLayout>
                  </c15:layout>
                </c:ext>
                <c:ext xmlns:c16="http://schemas.microsoft.com/office/drawing/2014/chart" uri="{C3380CC4-5D6E-409C-BE32-E72D297353CC}">
                  <c16:uniqueId val="{00000000-B82B-4A8C-8A8F-D175ACA43220}"/>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Nederland</c:v>
                </c:pt>
                <c:pt idx="1">
                  <c:v>MRA</c:v>
                </c:pt>
                <c:pt idx="2">
                  <c:v>Amsterdam Centerdata</c:v>
                </c:pt>
                <c:pt idx="3">
                  <c:v>Rotterdam</c:v>
                </c:pt>
                <c:pt idx="4">
                  <c:v>Den Haag</c:v>
                </c:pt>
                <c:pt idx="5">
                  <c:v>Utrecht</c:v>
                </c:pt>
                <c:pt idx="6">
                  <c:v>Friesland</c:v>
                </c:pt>
              </c:strCache>
            </c:strRef>
          </c:cat>
          <c:val>
            <c:numRef>
              <c:f>Sheet1!$C$2:$C$8</c:f>
              <c:numCache>
                <c:formatCode>0.00%</c:formatCode>
                <c:ptCount val="7"/>
                <c:pt idx="0">
                  <c:v>0.01</c:v>
                </c:pt>
                <c:pt idx="1">
                  <c:v>2.1999999999999999E-2</c:v>
                </c:pt>
                <c:pt idx="2" formatCode="0.0%">
                  <c:v>5.1999999999999998E-2</c:v>
                </c:pt>
                <c:pt idx="3" formatCode="0.0%">
                  <c:v>3.1E-2</c:v>
                </c:pt>
                <c:pt idx="4" formatCode="0.0%">
                  <c:v>3.0000000000000001E-3</c:v>
                </c:pt>
                <c:pt idx="5" formatCode="0.0%">
                  <c:v>2.5999999999999999E-2</c:v>
                </c:pt>
              </c:numCache>
            </c:numRef>
          </c:val>
          <c:extLst>
            <c:ext xmlns:c16="http://schemas.microsoft.com/office/drawing/2014/chart" uri="{C3380CC4-5D6E-409C-BE32-E72D297353CC}">
              <c16:uniqueId val="{00000001-0D0D-4E30-A94F-F9FDB144941F}"/>
            </c:ext>
          </c:extLst>
        </c:ser>
        <c:dLbls>
          <c:dLblPos val="ctr"/>
          <c:showLegendKey val="0"/>
          <c:showVal val="1"/>
          <c:showCatName val="0"/>
          <c:showSerName val="0"/>
          <c:showPercent val="0"/>
          <c:showBubbleSize val="0"/>
        </c:dLbls>
        <c:gapWidth val="65"/>
        <c:overlap val="100"/>
        <c:axId val="114189440"/>
        <c:axId val="114190976"/>
      </c:barChart>
      <c:catAx>
        <c:axId val="114189440"/>
        <c:scaling>
          <c:orientation val="maxMin"/>
        </c:scaling>
        <c:delete val="1"/>
        <c:axPos val="l"/>
        <c:numFmt formatCode="General" sourceLinked="1"/>
        <c:majorTickMark val="none"/>
        <c:minorTickMark val="none"/>
        <c:tickLblPos val="nextTo"/>
        <c:crossAx val="114190976"/>
        <c:crosses val="autoZero"/>
        <c:auto val="1"/>
        <c:lblAlgn val="ctr"/>
        <c:lblOffset val="100"/>
        <c:noMultiLvlLbl val="0"/>
      </c:catAx>
      <c:valAx>
        <c:axId val="114190976"/>
        <c:scaling>
          <c:orientation val="minMax"/>
        </c:scaling>
        <c:delete val="1"/>
        <c:axPos val="t"/>
        <c:numFmt formatCode="General" sourceLinked="1"/>
        <c:majorTickMark val="none"/>
        <c:minorTickMark val="none"/>
        <c:tickLblPos val="nextTo"/>
        <c:crossAx val="1141894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405261586256723E-2"/>
          <c:y val="8.6966923262866997E-3"/>
          <c:w val="0.97759465789343536"/>
          <c:h val="0.98260684855073321"/>
        </c:manualLayout>
      </c:layout>
      <c:barChart>
        <c:barDir val="bar"/>
        <c:grouping val="stacked"/>
        <c:varyColors val="0"/>
        <c:ser>
          <c:idx val="0"/>
          <c:order val="0"/>
          <c:tx>
            <c:strRef>
              <c:f>Sheet1!$B$1</c:f>
              <c:strCache>
                <c:ptCount val="1"/>
                <c:pt idx="0">
                  <c:v>Series 1</c:v>
                </c:pt>
              </c:strCache>
            </c:strRef>
          </c:tx>
          <c:spPr>
            <a:solidFill>
              <a:srgbClr val="00B050"/>
            </a:solidFill>
            <a:ln>
              <a:noFill/>
            </a:ln>
            <a:effectLst/>
          </c:spPr>
          <c:invertIfNegative val="0"/>
          <c:dPt>
            <c:idx val="1"/>
            <c:invertIfNegative val="0"/>
            <c:bubble3D val="0"/>
            <c:spPr>
              <a:solidFill>
                <a:srgbClr val="EC6224"/>
              </a:solidFill>
              <a:ln>
                <a:noFill/>
              </a:ln>
              <a:effectLst/>
            </c:spPr>
            <c:extLst>
              <c:ext xmlns:c16="http://schemas.microsoft.com/office/drawing/2014/chart" uri="{C3380CC4-5D6E-409C-BE32-E72D297353CC}">
                <c16:uniqueId val="{00000004-CDF3-41B8-9BBE-FFAEFDA8B7D1}"/>
              </c:ext>
            </c:extLst>
          </c:dPt>
          <c:dPt>
            <c:idx val="2"/>
            <c:invertIfNegative val="0"/>
            <c:bubble3D val="0"/>
            <c:spPr>
              <a:solidFill>
                <a:srgbClr val="EC6224"/>
              </a:solidFill>
              <a:ln>
                <a:noFill/>
              </a:ln>
              <a:effectLst/>
            </c:spPr>
            <c:extLst>
              <c:ext xmlns:c16="http://schemas.microsoft.com/office/drawing/2014/chart" uri="{C3380CC4-5D6E-409C-BE32-E72D297353CC}">
                <c16:uniqueId val="{00000003-CDF3-41B8-9BBE-FFAEFDA8B7D1}"/>
              </c:ext>
            </c:extLst>
          </c:dPt>
          <c:dPt>
            <c:idx val="6"/>
            <c:invertIfNegative val="0"/>
            <c:bubble3D val="0"/>
            <c:spPr>
              <a:solidFill>
                <a:srgbClr val="EC6224"/>
              </a:solidFill>
              <a:ln>
                <a:noFill/>
              </a:ln>
              <a:effectLst/>
            </c:spPr>
            <c:extLst>
              <c:ext xmlns:c16="http://schemas.microsoft.com/office/drawing/2014/chart" uri="{C3380CC4-5D6E-409C-BE32-E72D297353CC}">
                <c16:uniqueId val="{00000000-CDF3-41B8-9BBE-FFAEFDA8B7D1}"/>
              </c:ext>
            </c:extLst>
          </c:dPt>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2361995753715499"/>
                      <c:h val="7.296201896006467E-2"/>
                    </c:manualLayout>
                  </c15:layout>
                </c:ext>
                <c:ext xmlns:c16="http://schemas.microsoft.com/office/drawing/2014/chart" uri="{C3380CC4-5D6E-409C-BE32-E72D297353CC}">
                  <c16:uniqueId val="{00000005-CDF3-41B8-9BBE-FFAEFDA8B7D1}"/>
                </c:ext>
              </c:extLst>
            </c:dLbl>
            <c:dLbl>
              <c:idx val="1"/>
              <c:layout>
                <c:manualLayout>
                  <c:x val="1.0615711252653927E-2"/>
                  <c:y val="3.6317580368374651E-3"/>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0.33174097664543523"/>
                      <c:h val="0.10399553436744069"/>
                    </c:manualLayout>
                  </c15:layout>
                </c:ext>
                <c:ext xmlns:c16="http://schemas.microsoft.com/office/drawing/2014/chart" uri="{C3380CC4-5D6E-409C-BE32-E72D297353CC}">
                  <c16:uniqueId val="{00000004-CDF3-41B8-9BBE-FFAEFDA8B7D1}"/>
                </c:ext>
              </c:extLst>
            </c:dLbl>
            <c:dLbl>
              <c:idx val="2"/>
              <c:layout>
                <c:manualLayout>
                  <c:x val="2.1231422505307854E-2"/>
                  <c:y val="-7.2635160736749969E-3"/>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0.30934182590233544"/>
                      <c:h val="0.10399553436744069"/>
                    </c:manualLayout>
                  </c15:layout>
                </c:ext>
                <c:ext xmlns:c16="http://schemas.microsoft.com/office/drawing/2014/chart" uri="{C3380CC4-5D6E-409C-BE32-E72D297353CC}">
                  <c16:uniqueId val="{00000003-CDF3-41B8-9BBE-FFAEFDA8B7D1}"/>
                </c:ext>
              </c:extLst>
            </c:dLbl>
            <c:dLbl>
              <c:idx val="3"/>
              <c:dLblPos val="ctr"/>
              <c:showLegendKey val="0"/>
              <c:showVal val="1"/>
              <c:showCatName val="0"/>
              <c:showSerName val="0"/>
              <c:showPercent val="0"/>
              <c:showBubbleSize val="0"/>
              <c:extLst>
                <c:ext xmlns:c15="http://schemas.microsoft.com/office/drawing/2012/chart" uri="{CE6537A1-D6FC-4f65-9D91-7224C49458BB}">
                  <c15:layout>
                    <c:manualLayout>
                      <c:w val="0.26725094872695054"/>
                      <c:h val="7.296201896006467E-2"/>
                    </c:manualLayout>
                  </c15:layout>
                </c:ext>
                <c:ext xmlns:c16="http://schemas.microsoft.com/office/drawing/2014/chart" uri="{C3380CC4-5D6E-409C-BE32-E72D297353CC}">
                  <c16:uniqueId val="{00000008-B5A7-4F2A-A781-5E361DDC1C4F}"/>
                </c:ext>
              </c:extLst>
            </c:dLbl>
            <c:dLbl>
              <c:idx val="4"/>
              <c:dLblPos val="ctr"/>
              <c:showLegendKey val="0"/>
              <c:showVal val="1"/>
              <c:showCatName val="0"/>
              <c:showSerName val="0"/>
              <c:showPercent val="0"/>
              <c:showBubbleSize val="0"/>
              <c:extLst>
                <c:ext xmlns:c15="http://schemas.microsoft.com/office/drawing/2012/chart" uri="{CE6537A1-D6FC-4f65-9D91-7224C49458BB}">
                  <c15:layout>
                    <c:manualLayout>
                      <c:w val="0.2475583864118896"/>
                      <c:h val="7.296201896006467E-2"/>
                    </c:manualLayout>
                  </c15:layout>
                </c:ext>
                <c:ext xmlns:c16="http://schemas.microsoft.com/office/drawing/2014/chart" uri="{C3380CC4-5D6E-409C-BE32-E72D297353CC}">
                  <c16:uniqueId val="{00000006-B5A7-4F2A-A781-5E361DDC1C4F}"/>
                </c:ext>
              </c:extLst>
            </c:dLbl>
            <c:dLbl>
              <c:idx val="5"/>
              <c:dLblPos val="ctr"/>
              <c:showLegendKey val="0"/>
              <c:showVal val="1"/>
              <c:showCatName val="0"/>
              <c:showSerName val="0"/>
              <c:showPercent val="0"/>
              <c:showBubbleSize val="0"/>
              <c:extLst>
                <c:ext xmlns:c15="http://schemas.microsoft.com/office/drawing/2012/chart" uri="{CE6537A1-D6FC-4f65-9D91-7224C49458BB}">
                  <c15:layout>
                    <c:manualLayout>
                      <c:w val="0.29225053078556268"/>
                      <c:h val="7.296201896006467E-2"/>
                    </c:manualLayout>
                  </c15:layout>
                </c:ext>
                <c:ext xmlns:c16="http://schemas.microsoft.com/office/drawing/2014/chart" uri="{C3380CC4-5D6E-409C-BE32-E72D297353CC}">
                  <c16:uniqueId val="{00000007-B5A7-4F2A-A781-5E361DDC1C4F}"/>
                </c:ext>
              </c:extLst>
            </c:dLbl>
            <c:dLbl>
              <c:idx val="6"/>
              <c:layout>
                <c:manualLayout>
                  <c:x val="1.9667835049798368E-2"/>
                  <c:y val="-8.3333315106450031E-3"/>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0.27245306764156479"/>
                      <c:h val="7.9541758630411505E-2"/>
                    </c:manualLayout>
                  </c15:layout>
                </c:ext>
                <c:ext xmlns:c16="http://schemas.microsoft.com/office/drawing/2014/chart" uri="{C3380CC4-5D6E-409C-BE32-E72D297353CC}">
                  <c16:uniqueId val="{00000000-CDF3-41B8-9BBE-FFAEFDA8B7D1}"/>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rgbClr val="000000"/>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Nederland</c:v>
                </c:pt>
                <c:pt idx="1">
                  <c:v>Zuidelijk Noord Holland</c:v>
                </c:pt>
                <c:pt idx="2">
                  <c:v>Amsterdam Centerdata</c:v>
                </c:pt>
                <c:pt idx="3">
                  <c:v>Rotterdam</c:v>
                </c:pt>
                <c:pt idx="4">
                  <c:v>Den Haag</c:v>
                </c:pt>
                <c:pt idx="5">
                  <c:v>Utrecht</c:v>
                </c:pt>
                <c:pt idx="6">
                  <c:v>Friesland</c:v>
                </c:pt>
              </c:strCache>
            </c:strRef>
          </c:cat>
          <c:val>
            <c:numRef>
              <c:f>Sheet1!$B$2:$B$8</c:f>
              <c:numCache>
                <c:formatCode>0%</c:formatCode>
                <c:ptCount val="7"/>
                <c:pt idx="0">
                  <c:v>5.0000000000000001E-3</c:v>
                </c:pt>
                <c:pt idx="1">
                  <c:v>-5.0000000000000001E-3</c:v>
                </c:pt>
                <c:pt idx="2">
                  <c:v>-1.0999999999999999E-2</c:v>
                </c:pt>
                <c:pt idx="3">
                  <c:v>1.2E-2</c:v>
                </c:pt>
                <c:pt idx="4">
                  <c:v>2E-3</c:v>
                </c:pt>
                <c:pt idx="5">
                  <c:v>1.6E-2</c:v>
                </c:pt>
                <c:pt idx="6">
                  <c:v>-4.4999999999999998E-2</c:v>
                </c:pt>
              </c:numCache>
            </c:numRef>
          </c:val>
          <c:extLst>
            <c:ext xmlns:c16="http://schemas.microsoft.com/office/drawing/2014/chart" uri="{C3380CC4-5D6E-409C-BE32-E72D297353CC}">
              <c16:uniqueId val="{00000001-CDF3-41B8-9BBE-FFAEFDA8B7D1}"/>
            </c:ext>
          </c:extLst>
        </c:ser>
        <c:dLbls>
          <c:dLblPos val="ctr"/>
          <c:showLegendKey val="0"/>
          <c:showVal val="1"/>
          <c:showCatName val="0"/>
          <c:showSerName val="0"/>
          <c:showPercent val="0"/>
          <c:showBubbleSize val="0"/>
        </c:dLbls>
        <c:gapWidth val="65"/>
        <c:overlap val="100"/>
        <c:axId val="114219264"/>
        <c:axId val="114222208"/>
      </c:barChart>
      <c:catAx>
        <c:axId val="114219264"/>
        <c:scaling>
          <c:orientation val="maxMin"/>
        </c:scaling>
        <c:delete val="1"/>
        <c:axPos val="l"/>
        <c:numFmt formatCode="General" sourceLinked="1"/>
        <c:majorTickMark val="none"/>
        <c:minorTickMark val="none"/>
        <c:tickLblPos val="nextTo"/>
        <c:crossAx val="114222208"/>
        <c:crosses val="autoZero"/>
        <c:auto val="1"/>
        <c:lblAlgn val="ctr"/>
        <c:lblOffset val="100"/>
        <c:noMultiLvlLbl val="0"/>
      </c:catAx>
      <c:valAx>
        <c:axId val="114222208"/>
        <c:scaling>
          <c:orientation val="minMax"/>
        </c:scaling>
        <c:delete val="1"/>
        <c:axPos val="t"/>
        <c:numFmt formatCode="0%" sourceLinked="1"/>
        <c:majorTickMark val="none"/>
        <c:minorTickMark val="none"/>
        <c:tickLblPos val="nextTo"/>
        <c:crossAx val="1142192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LID4096"/>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42A23B-4B92-433C-9134-B7D11B1C34C8}" type="datetimeFigureOut">
              <a:rPr lang="LID4096" smtClean="0"/>
              <a:t>02/07/2022</a:t>
            </a:fld>
            <a:endParaRPr lang="LID4096"/>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LID4096"/>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LID4096"/>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LID4096"/>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F94853D-D312-4C14-A9EA-704C36A465D9}" type="slidenum">
              <a:rPr lang="LID4096" smtClean="0"/>
              <a:t>‹#›</a:t>
            </a:fld>
            <a:endParaRPr lang="LID4096"/>
          </a:p>
        </p:txBody>
      </p:sp>
    </p:spTree>
    <p:extLst>
      <p:ext uri="{BB962C8B-B14F-4D97-AF65-F5344CB8AC3E}">
        <p14:creationId xmlns:p14="http://schemas.microsoft.com/office/powerpoint/2010/main" val="3048501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3</a:t>
            </a:fld>
            <a:endParaRPr lang="nl-NL" altLang="en-US"/>
          </a:p>
        </p:txBody>
      </p:sp>
    </p:spTree>
    <p:extLst>
      <p:ext uri="{BB962C8B-B14F-4D97-AF65-F5344CB8AC3E}">
        <p14:creationId xmlns:p14="http://schemas.microsoft.com/office/powerpoint/2010/main" val="1641643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23</a:t>
            </a:fld>
            <a:endParaRPr lang="nl-NL" altLang="en-US"/>
          </a:p>
        </p:txBody>
      </p:sp>
    </p:spTree>
    <p:extLst>
      <p:ext uri="{BB962C8B-B14F-4D97-AF65-F5344CB8AC3E}">
        <p14:creationId xmlns:p14="http://schemas.microsoft.com/office/powerpoint/2010/main" val="7175910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vmlDrawing" Target="../drawings/vmlDrawing34.v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vmlDrawing" Target="../drawings/vmlDrawing35.vml"/><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70.xml"/><Relationship Id="rId1" Type="http://schemas.openxmlformats.org/officeDocument/2006/relationships/vmlDrawing" Target="../drawings/vmlDrawing38.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6.svg"/><Relationship Id="rId4" Type="http://schemas.openxmlformats.org/officeDocument/2006/relationships/oleObject" Target="../embeddings/oleObject38.bin"/><Relationship Id="rId9" Type="http://schemas.openxmlformats.org/officeDocument/2006/relationships/image" Target="../media/image5.png"/></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2"/>
            </p:custDataLst>
            <p:extLst>
              <p:ext uri="{D42A27DB-BD31-4B8C-83A1-F6EECF244321}">
                <p14:modId xmlns:p14="http://schemas.microsoft.com/office/powerpoint/2010/main" val="370721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0"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7635378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119107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2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2" name="Footnote">
            <a:extLst>
              <a:ext uri="{FF2B5EF4-FFF2-40B4-BE49-F238E27FC236}">
                <a16:creationId xmlns:a16="http://schemas.microsoft.com/office/drawing/2014/main" id="{9AE1DBF7-A560-4C8C-B0C2-F6E1CEC9ECF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3" name="Footer Placeholder">
            <a:extLst>
              <a:ext uri="{FF2B5EF4-FFF2-40B4-BE49-F238E27FC236}">
                <a16:creationId xmlns:a16="http://schemas.microsoft.com/office/drawing/2014/main" id="{2CDB8301-D768-4A63-9722-8E4A18EF91C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6" name="Slide Number Placeholder">
            <a:extLst>
              <a:ext uri="{FF2B5EF4-FFF2-40B4-BE49-F238E27FC236}">
                <a16:creationId xmlns:a16="http://schemas.microsoft.com/office/drawing/2014/main" id="{88D35255-5967-45E1-992B-07410B7E462E}"/>
              </a:ext>
            </a:extLst>
          </p:cNvPr>
          <p:cNvSpPr>
            <a:spLocks noGrp="1"/>
          </p:cNvSpPr>
          <p:nvPr>
            <p:ph type="sldNum" sz="quarter" idx="12"/>
          </p:nvPr>
        </p:nvSpPr>
        <p:spPr>
          <a:xfrm>
            <a:off x="10989444" y="6684903"/>
            <a:ext cx="1023140" cy="163513"/>
          </a:xfrm>
          <a:prstGeom prst="rect">
            <a:avLst/>
          </a:prstGeom>
        </p:spPr>
        <p:txBody>
          <a:bodyPr/>
          <a:lstStyle/>
          <a:p>
            <a:fld id="{400E184B-189C-4115-A2C8-A7464BBD11D3}" type="slidenum">
              <a:rPr lang="nl-NL" smtClean="0"/>
              <a:t>‹#›</a:t>
            </a:fld>
            <a:endParaRPr lang="nl-NL"/>
          </a:p>
        </p:txBody>
      </p:sp>
    </p:spTree>
    <p:extLst>
      <p:ext uri="{BB962C8B-B14F-4D97-AF65-F5344CB8AC3E}">
        <p14:creationId xmlns:p14="http://schemas.microsoft.com/office/powerpoint/2010/main" val="29602455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791705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5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AC97D24F-BEA1-4929-BE7A-B69D61FB979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9394AB8E-84F7-44D9-872B-D3757FD85A7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E2EAF53B-741A-4ABC-868E-198897A7D0A3}"/>
              </a:ext>
            </a:extLst>
          </p:cNvPr>
          <p:cNvSpPr>
            <a:spLocks noGrp="1"/>
          </p:cNvSpPr>
          <p:nvPr>
            <p:ph type="sldNum" sz="quarter" idx="12"/>
          </p:nvPr>
        </p:nvSpPr>
        <p:spPr>
          <a:xfrm>
            <a:off x="10989444" y="6684903"/>
            <a:ext cx="1023140" cy="163513"/>
          </a:xfrm>
          <a:prstGeom prst="rect">
            <a:avLst/>
          </a:prstGeom>
        </p:spPr>
        <p:txBody>
          <a:bodyPr/>
          <a:lstStyle/>
          <a:p>
            <a:fld id="{400E184B-189C-4115-A2C8-A7464BBD11D3}" type="slidenum">
              <a:rPr lang="nl-NL" smtClean="0"/>
              <a:t>‹#›</a:t>
            </a:fld>
            <a:endParaRPr lang="nl-NL"/>
          </a:p>
        </p:txBody>
      </p:sp>
    </p:spTree>
    <p:extLst>
      <p:ext uri="{BB962C8B-B14F-4D97-AF65-F5344CB8AC3E}">
        <p14:creationId xmlns:p14="http://schemas.microsoft.com/office/powerpoint/2010/main" val="25446549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2"/>
            </p:custDataLst>
            <p:extLst>
              <p:ext uri="{D42A27DB-BD31-4B8C-83A1-F6EECF244321}">
                <p14:modId xmlns:p14="http://schemas.microsoft.com/office/powerpoint/2010/main" val="1689633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7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92312DF9-3D0C-413D-8E9C-525927F25EB9}"/>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41A6EC92-D17C-4D0A-A2F3-14862669EF8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D928C528-D9E8-4076-9136-82FD6074BF48}"/>
              </a:ext>
            </a:extLst>
          </p:cNvPr>
          <p:cNvSpPr>
            <a:spLocks noGrp="1"/>
          </p:cNvSpPr>
          <p:nvPr>
            <p:ph type="sldNum" sz="quarter" idx="12"/>
          </p:nvPr>
        </p:nvSpPr>
        <p:spPr>
          <a:xfrm>
            <a:off x="10989444" y="6684903"/>
            <a:ext cx="1023140" cy="163513"/>
          </a:xfrm>
          <a:prstGeom prst="rect">
            <a:avLst/>
          </a:prstGeom>
        </p:spPr>
        <p:txBody>
          <a:bodyPr/>
          <a:lstStyle/>
          <a:p>
            <a:fld id="{400E184B-189C-4115-A2C8-A7464BBD11D3}" type="slidenum">
              <a:rPr lang="nl-NL" smtClean="0"/>
              <a:t>‹#›</a:t>
            </a:fld>
            <a:endParaRPr lang="nl-NL"/>
          </a:p>
        </p:txBody>
      </p:sp>
    </p:spTree>
    <p:extLst>
      <p:ext uri="{BB962C8B-B14F-4D97-AF65-F5344CB8AC3E}">
        <p14:creationId xmlns:p14="http://schemas.microsoft.com/office/powerpoint/2010/main" val="26925223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2"/>
            </p:custDataLst>
            <p:extLst>
              <p:ext uri="{D42A27DB-BD31-4B8C-83A1-F6EECF244321}">
                <p14:modId xmlns:p14="http://schemas.microsoft.com/office/powerpoint/2010/main" val="3153354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9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8" name="Footnote">
            <a:extLst>
              <a:ext uri="{FF2B5EF4-FFF2-40B4-BE49-F238E27FC236}">
                <a16:creationId xmlns:a16="http://schemas.microsoft.com/office/drawing/2014/main" id="{15A9BCE1-0FAE-4309-B88E-A9A1C194227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0FADD92A-DD38-4FDC-B8B7-E5F8F8F7F63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21" name="Slide Number Placeholder">
            <a:extLst>
              <a:ext uri="{FF2B5EF4-FFF2-40B4-BE49-F238E27FC236}">
                <a16:creationId xmlns:a16="http://schemas.microsoft.com/office/drawing/2014/main" id="{46FE9ADA-C6BF-4A67-851A-238DECAEE1B7}"/>
              </a:ext>
            </a:extLst>
          </p:cNvPr>
          <p:cNvSpPr>
            <a:spLocks noGrp="1"/>
          </p:cNvSpPr>
          <p:nvPr>
            <p:ph type="sldNum" sz="quarter" idx="12"/>
          </p:nvPr>
        </p:nvSpPr>
        <p:spPr>
          <a:xfrm>
            <a:off x="10989444" y="6684903"/>
            <a:ext cx="1023140" cy="163513"/>
          </a:xfrm>
          <a:prstGeom prst="rect">
            <a:avLst/>
          </a:prstGeom>
        </p:spPr>
        <p:txBody>
          <a:bodyPr/>
          <a:lstStyle/>
          <a:p>
            <a:fld id="{400E184B-189C-4115-A2C8-A7464BBD11D3}" type="slidenum">
              <a:rPr lang="nl-NL" smtClean="0"/>
              <a:t>‹#›</a:t>
            </a:fld>
            <a:endParaRPr lang="nl-NL"/>
          </a:p>
        </p:txBody>
      </p:sp>
    </p:spTree>
    <p:extLst>
      <p:ext uri="{BB962C8B-B14F-4D97-AF65-F5344CB8AC3E}">
        <p14:creationId xmlns:p14="http://schemas.microsoft.com/office/powerpoint/2010/main" val="41301279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2"/>
            </p:custDataLst>
            <p:extLst>
              <p:ext uri="{D42A27DB-BD31-4B8C-83A1-F6EECF244321}">
                <p14:modId xmlns:p14="http://schemas.microsoft.com/office/powerpoint/2010/main" val="2958562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2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B189C55-81A0-4532-AA9B-C92BFCE2EA7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129D93DB-D302-4294-9247-D99C5E554C2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6" name="Slide Number Placeholder">
            <a:extLst>
              <a:ext uri="{FF2B5EF4-FFF2-40B4-BE49-F238E27FC236}">
                <a16:creationId xmlns:a16="http://schemas.microsoft.com/office/drawing/2014/main" id="{7891F146-9383-4DA9-AC7B-6CC755A2848C}"/>
              </a:ext>
            </a:extLst>
          </p:cNvPr>
          <p:cNvSpPr>
            <a:spLocks noGrp="1"/>
          </p:cNvSpPr>
          <p:nvPr>
            <p:ph type="sldNum" sz="quarter" idx="12"/>
          </p:nvPr>
        </p:nvSpPr>
        <p:spPr>
          <a:xfrm>
            <a:off x="10989444" y="6684903"/>
            <a:ext cx="1023140" cy="163513"/>
          </a:xfrm>
          <a:prstGeom prst="rect">
            <a:avLst/>
          </a:prstGeom>
        </p:spPr>
        <p:txBody>
          <a:bodyPr/>
          <a:lstStyle/>
          <a:p>
            <a:fld id="{400E184B-189C-4115-A2C8-A7464BBD11D3}" type="slidenum">
              <a:rPr lang="nl-NL" smtClean="0"/>
              <a:t>‹#›</a:t>
            </a:fld>
            <a:endParaRPr lang="nl-NL"/>
          </a:p>
        </p:txBody>
      </p:sp>
    </p:spTree>
    <p:extLst>
      <p:ext uri="{BB962C8B-B14F-4D97-AF65-F5344CB8AC3E}">
        <p14:creationId xmlns:p14="http://schemas.microsoft.com/office/powerpoint/2010/main" val="23378363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2"/>
            </p:custDataLst>
            <p:extLst>
              <p:ext uri="{D42A27DB-BD31-4B8C-83A1-F6EECF244321}">
                <p14:modId xmlns:p14="http://schemas.microsoft.com/office/powerpoint/2010/main" val="1937821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4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396A5EF7-3BDF-4F59-8DFB-91580C19E92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0EB2A53F-6875-4466-9BBE-3A769D299AF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E802CD86-DC63-4FD7-BB42-7A4E3AF76E0C}"/>
              </a:ext>
            </a:extLst>
          </p:cNvPr>
          <p:cNvSpPr>
            <a:spLocks noGrp="1"/>
          </p:cNvSpPr>
          <p:nvPr>
            <p:ph type="sldNum" sz="quarter" idx="12"/>
          </p:nvPr>
        </p:nvSpPr>
        <p:spPr>
          <a:xfrm>
            <a:off x="10989444" y="6684903"/>
            <a:ext cx="1023140" cy="163513"/>
          </a:xfrm>
          <a:prstGeom prst="rect">
            <a:avLst/>
          </a:prstGeom>
        </p:spPr>
        <p:txBody>
          <a:bodyPr/>
          <a:lstStyle/>
          <a:p>
            <a:fld id="{400E184B-189C-4115-A2C8-A7464BBD11D3}" type="slidenum">
              <a:rPr lang="nl-NL" smtClean="0"/>
              <a:t>‹#›</a:t>
            </a:fld>
            <a:endParaRPr lang="nl-NL"/>
          </a:p>
        </p:txBody>
      </p:sp>
    </p:spTree>
    <p:extLst>
      <p:ext uri="{BB962C8B-B14F-4D97-AF65-F5344CB8AC3E}">
        <p14:creationId xmlns:p14="http://schemas.microsoft.com/office/powerpoint/2010/main" val="36221754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2741649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9F9B1299-C6A0-4902-8A1B-F05B2A34C0AD}"/>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DF2BD536-37C9-4704-A523-80185702B09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23" name="Slide Number Placeholder">
            <a:extLst>
              <a:ext uri="{FF2B5EF4-FFF2-40B4-BE49-F238E27FC236}">
                <a16:creationId xmlns:a16="http://schemas.microsoft.com/office/drawing/2014/main" id="{B9E826F1-75B6-44C7-8F73-6007C01D8449}"/>
              </a:ext>
            </a:extLst>
          </p:cNvPr>
          <p:cNvSpPr>
            <a:spLocks noGrp="1"/>
          </p:cNvSpPr>
          <p:nvPr>
            <p:ph type="sldNum" sz="quarter" idx="12"/>
          </p:nvPr>
        </p:nvSpPr>
        <p:spPr>
          <a:xfrm>
            <a:off x="10989444" y="6684903"/>
            <a:ext cx="1023140" cy="163513"/>
          </a:xfrm>
          <a:prstGeom prst="rect">
            <a:avLst/>
          </a:prstGeom>
        </p:spPr>
        <p:txBody>
          <a:bodyPr/>
          <a:lstStyle/>
          <a:p>
            <a:fld id="{400E184B-189C-4115-A2C8-A7464BBD11D3}" type="slidenum">
              <a:rPr lang="nl-NL" smtClean="0"/>
              <a:t>‹#›</a:t>
            </a:fld>
            <a:endParaRPr lang="nl-NL"/>
          </a:p>
        </p:txBody>
      </p:sp>
    </p:spTree>
    <p:extLst>
      <p:ext uri="{BB962C8B-B14F-4D97-AF65-F5344CB8AC3E}">
        <p14:creationId xmlns:p14="http://schemas.microsoft.com/office/powerpoint/2010/main" val="5441936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2"/>
            </p:custDataLst>
            <p:extLst>
              <p:ext uri="{D42A27DB-BD31-4B8C-83A1-F6EECF244321}">
                <p14:modId xmlns:p14="http://schemas.microsoft.com/office/powerpoint/2010/main" val="2106825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9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0" name="Footnote">
            <a:extLst>
              <a:ext uri="{FF2B5EF4-FFF2-40B4-BE49-F238E27FC236}">
                <a16:creationId xmlns:a16="http://schemas.microsoft.com/office/drawing/2014/main" id="{8BC86644-E0CC-4738-94FD-16E07E0E3D7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9EDCF658-8A7C-40B9-83B0-192B5679B01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22" name="Slide Number Placeholder">
            <a:extLst>
              <a:ext uri="{FF2B5EF4-FFF2-40B4-BE49-F238E27FC236}">
                <a16:creationId xmlns:a16="http://schemas.microsoft.com/office/drawing/2014/main" id="{ECA7A402-2207-4B94-AE65-8223C15E57F6}"/>
              </a:ext>
            </a:extLst>
          </p:cNvPr>
          <p:cNvSpPr>
            <a:spLocks noGrp="1"/>
          </p:cNvSpPr>
          <p:nvPr>
            <p:ph type="sldNum" sz="quarter" idx="12"/>
          </p:nvPr>
        </p:nvSpPr>
        <p:spPr>
          <a:xfrm>
            <a:off x="10989444" y="6684903"/>
            <a:ext cx="1023140" cy="163513"/>
          </a:xfrm>
          <a:prstGeom prst="rect">
            <a:avLst/>
          </a:prstGeom>
        </p:spPr>
        <p:txBody>
          <a:bodyPr/>
          <a:lstStyle/>
          <a:p>
            <a:fld id="{400E184B-189C-4115-A2C8-A7464BBD11D3}" type="slidenum">
              <a:rPr lang="nl-NL" smtClean="0"/>
              <a:t>‹#›</a:t>
            </a:fld>
            <a:endParaRPr lang="nl-NL"/>
          </a:p>
        </p:txBody>
      </p:sp>
    </p:spTree>
    <p:extLst>
      <p:ext uri="{BB962C8B-B14F-4D97-AF65-F5344CB8AC3E}">
        <p14:creationId xmlns:p14="http://schemas.microsoft.com/office/powerpoint/2010/main" val="11705503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2"/>
            </p:custDataLst>
            <p:extLst>
              <p:ext uri="{D42A27DB-BD31-4B8C-83A1-F6EECF244321}">
                <p14:modId xmlns:p14="http://schemas.microsoft.com/office/powerpoint/2010/main" val="2669510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1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1E9DBC3D-9FC2-447D-B8D4-5B993E70307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9C9562FC-DCC4-4082-8117-6248154C2A5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29" name="Slide Number Placeholder">
            <a:extLst>
              <a:ext uri="{FF2B5EF4-FFF2-40B4-BE49-F238E27FC236}">
                <a16:creationId xmlns:a16="http://schemas.microsoft.com/office/drawing/2014/main" id="{75425F24-40B1-41CB-8147-85D62733D05A}"/>
              </a:ext>
            </a:extLst>
          </p:cNvPr>
          <p:cNvSpPr>
            <a:spLocks noGrp="1"/>
          </p:cNvSpPr>
          <p:nvPr>
            <p:ph type="sldNum" sz="quarter" idx="12"/>
          </p:nvPr>
        </p:nvSpPr>
        <p:spPr>
          <a:xfrm>
            <a:off x="10989444" y="6684903"/>
            <a:ext cx="1023140" cy="163513"/>
          </a:xfrm>
          <a:prstGeom prst="rect">
            <a:avLst/>
          </a:prstGeom>
        </p:spPr>
        <p:txBody>
          <a:bodyPr/>
          <a:lstStyle/>
          <a:p>
            <a:fld id="{400E184B-189C-4115-A2C8-A7464BBD11D3}" type="slidenum">
              <a:rPr lang="nl-NL" smtClean="0"/>
              <a:t>‹#›</a:t>
            </a:fld>
            <a:endParaRPr lang="nl-NL"/>
          </a:p>
        </p:txBody>
      </p:sp>
    </p:spTree>
    <p:extLst>
      <p:ext uri="{BB962C8B-B14F-4D97-AF65-F5344CB8AC3E}">
        <p14:creationId xmlns:p14="http://schemas.microsoft.com/office/powerpoint/2010/main" val="42430942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1043123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0E86BE4-10C0-4DE0-81EF-94B7482268CA}"/>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4BB4E3-DB7B-4606-AB58-12E823974137}"/>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6" name="Slide Number Placeholder">
            <a:extLst>
              <a:ext uri="{FF2B5EF4-FFF2-40B4-BE49-F238E27FC236}">
                <a16:creationId xmlns:a16="http://schemas.microsoft.com/office/drawing/2014/main" id="{04465F25-1FFE-4934-A332-ABC482225252}"/>
              </a:ext>
            </a:extLst>
          </p:cNvPr>
          <p:cNvSpPr>
            <a:spLocks noGrp="1"/>
          </p:cNvSpPr>
          <p:nvPr>
            <p:ph type="sldNum" sz="quarter" idx="12"/>
          </p:nvPr>
        </p:nvSpPr>
        <p:spPr>
          <a:xfrm>
            <a:off x="10989444" y="6684903"/>
            <a:ext cx="1023140" cy="163513"/>
          </a:xfrm>
          <a:prstGeom prst="rect">
            <a:avLst/>
          </a:prstGeom>
        </p:spPr>
        <p:txBody>
          <a:bodyPr/>
          <a:lstStyle/>
          <a:p>
            <a:fld id="{400E184B-189C-4115-A2C8-A7464BBD11D3}" type="slidenum">
              <a:rPr lang="nl-NL" smtClean="0"/>
              <a:t>‹#›</a:t>
            </a:fld>
            <a:endParaRPr lang="nl-NL"/>
          </a:p>
        </p:txBody>
      </p:sp>
    </p:spTree>
    <p:extLst>
      <p:ext uri="{BB962C8B-B14F-4D97-AF65-F5344CB8AC3E}">
        <p14:creationId xmlns:p14="http://schemas.microsoft.com/office/powerpoint/2010/main" val="16804253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2"/>
            </p:custDataLst>
            <p:extLst>
              <p:ext uri="{D42A27DB-BD31-4B8C-83A1-F6EECF244321}">
                <p14:modId xmlns:p14="http://schemas.microsoft.com/office/powerpoint/2010/main" val="2919836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989444" y="6684903"/>
            <a:ext cx="1023140" cy="163513"/>
          </a:xfrm>
          <a:prstGeom prst="rect">
            <a:avLst/>
          </a:prstGeom>
        </p:spPr>
        <p:txBody>
          <a:bodyPr/>
          <a:lstStyle/>
          <a:p>
            <a:fld id="{400E184B-189C-4115-A2C8-A7464BBD11D3}" type="slidenum">
              <a:rPr lang="nl-NL" smtClean="0"/>
              <a:t>‹#›</a:t>
            </a:fld>
            <a:endParaRPr lang="nl-NL"/>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38429605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3672750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6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E239A049-10E3-483F-AF0C-D554A649F35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B5115D-94F1-4A57-8358-A3E1157D870F}"/>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03AEF77F-E84B-4232-8EB4-28D1D6547C4F}"/>
              </a:ext>
            </a:extLst>
          </p:cNvPr>
          <p:cNvSpPr>
            <a:spLocks noGrp="1"/>
          </p:cNvSpPr>
          <p:nvPr>
            <p:ph type="sldNum" sz="quarter" idx="12"/>
          </p:nvPr>
        </p:nvSpPr>
        <p:spPr>
          <a:xfrm>
            <a:off x="10989444" y="6684903"/>
            <a:ext cx="1023140" cy="163513"/>
          </a:xfrm>
          <a:prstGeom prst="rect">
            <a:avLst/>
          </a:prstGeom>
        </p:spPr>
        <p:txBody>
          <a:bodyPr/>
          <a:lstStyle/>
          <a:p>
            <a:fld id="{400E184B-189C-4115-A2C8-A7464BBD11D3}" type="slidenum">
              <a:rPr lang="nl-NL" smtClean="0"/>
              <a:t>‹#›</a:t>
            </a:fld>
            <a:endParaRPr lang="nl-NL"/>
          </a:p>
        </p:txBody>
      </p:sp>
    </p:spTree>
    <p:extLst>
      <p:ext uri="{BB962C8B-B14F-4D97-AF65-F5344CB8AC3E}">
        <p14:creationId xmlns:p14="http://schemas.microsoft.com/office/powerpoint/2010/main" val="3496872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2"/>
            </p:custDataLst>
            <p:extLst>
              <p:ext uri="{D42A27DB-BD31-4B8C-83A1-F6EECF244321}">
                <p14:modId xmlns:p14="http://schemas.microsoft.com/office/powerpoint/2010/main" val="2550673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9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DAF6A8EE-6352-4BCF-AE1E-2B04F1D32D5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5" name="Footer Placeholder">
            <a:extLst>
              <a:ext uri="{FF2B5EF4-FFF2-40B4-BE49-F238E27FC236}">
                <a16:creationId xmlns:a16="http://schemas.microsoft.com/office/drawing/2014/main" id="{F45E2D14-1FFD-49FE-B2CA-F2E3B50ACCC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8" name="Slide Number Placeholder">
            <a:extLst>
              <a:ext uri="{FF2B5EF4-FFF2-40B4-BE49-F238E27FC236}">
                <a16:creationId xmlns:a16="http://schemas.microsoft.com/office/drawing/2014/main" id="{95314695-247D-407C-BDE8-B01BAA88F025}"/>
              </a:ext>
            </a:extLst>
          </p:cNvPr>
          <p:cNvSpPr>
            <a:spLocks noGrp="1"/>
          </p:cNvSpPr>
          <p:nvPr>
            <p:ph type="sldNum" sz="quarter" idx="12"/>
          </p:nvPr>
        </p:nvSpPr>
        <p:spPr>
          <a:xfrm>
            <a:off x="10989444" y="6684903"/>
            <a:ext cx="1023140" cy="163513"/>
          </a:xfrm>
          <a:prstGeom prst="rect">
            <a:avLst/>
          </a:prstGeom>
        </p:spPr>
        <p:txBody>
          <a:bodyPr/>
          <a:lstStyle/>
          <a:p>
            <a:fld id="{400E184B-189C-4115-A2C8-A7464BBD11D3}" type="slidenum">
              <a:rPr lang="nl-NL" smtClean="0"/>
              <a:t>‹#›</a:t>
            </a:fld>
            <a:endParaRPr lang="nl-NL"/>
          </a:p>
        </p:txBody>
      </p:sp>
    </p:spTree>
    <p:extLst>
      <p:ext uri="{BB962C8B-B14F-4D97-AF65-F5344CB8AC3E}">
        <p14:creationId xmlns:p14="http://schemas.microsoft.com/office/powerpoint/2010/main" val="34575681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2"/>
            </p:custDataLst>
            <p:extLst>
              <p:ext uri="{D42A27DB-BD31-4B8C-83A1-F6EECF244321}">
                <p14:modId xmlns:p14="http://schemas.microsoft.com/office/powerpoint/2010/main" val="961565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1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48567908-EABB-4849-8656-A2FC7BE259B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7" name="Footer Placeholder">
            <a:extLst>
              <a:ext uri="{FF2B5EF4-FFF2-40B4-BE49-F238E27FC236}">
                <a16:creationId xmlns:a16="http://schemas.microsoft.com/office/drawing/2014/main" id="{F76EB023-388E-49C5-90E9-ADF6C01678E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8" name="Slide Number Placeholder">
            <a:extLst>
              <a:ext uri="{FF2B5EF4-FFF2-40B4-BE49-F238E27FC236}">
                <a16:creationId xmlns:a16="http://schemas.microsoft.com/office/drawing/2014/main" id="{5B73C246-7060-46F3-82AC-5C2769634C52}"/>
              </a:ext>
            </a:extLst>
          </p:cNvPr>
          <p:cNvSpPr>
            <a:spLocks noGrp="1"/>
          </p:cNvSpPr>
          <p:nvPr>
            <p:ph type="sldNum" sz="quarter" idx="12"/>
          </p:nvPr>
        </p:nvSpPr>
        <p:spPr>
          <a:xfrm>
            <a:off x="10989444" y="6684903"/>
            <a:ext cx="1023140" cy="163513"/>
          </a:xfrm>
          <a:prstGeom prst="rect">
            <a:avLst/>
          </a:prstGeom>
        </p:spPr>
        <p:txBody>
          <a:bodyPr/>
          <a:lstStyle/>
          <a:p>
            <a:fld id="{400E184B-189C-4115-A2C8-A7464BBD11D3}" type="slidenum">
              <a:rPr lang="nl-NL" smtClean="0"/>
              <a:t>‹#›</a:t>
            </a:fld>
            <a:endParaRPr lang="nl-NL"/>
          </a:p>
        </p:txBody>
      </p:sp>
    </p:spTree>
    <p:extLst>
      <p:ext uri="{BB962C8B-B14F-4D97-AF65-F5344CB8AC3E}">
        <p14:creationId xmlns:p14="http://schemas.microsoft.com/office/powerpoint/2010/main" val="21419456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2"/>
            </p:custDataLst>
            <p:extLst>
              <p:ext uri="{D42A27DB-BD31-4B8C-83A1-F6EECF244321}">
                <p14:modId xmlns:p14="http://schemas.microsoft.com/office/powerpoint/2010/main" val="4139235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38"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42711"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4496194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2"/>
            </p:custDataLst>
            <p:extLst>
              <p:ext uri="{D42A27DB-BD31-4B8C-83A1-F6EECF244321}">
                <p14:modId xmlns:p14="http://schemas.microsoft.com/office/powerpoint/2010/main" val="149402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62"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14439159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2"/>
            </p:custDataLst>
            <p:extLst>
              <p:ext uri="{D42A27DB-BD31-4B8C-83A1-F6EECF244321}">
                <p14:modId xmlns:p14="http://schemas.microsoft.com/office/powerpoint/2010/main" val="2608715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86"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noFill/>
          <a:ln w="19050">
            <a:noFill/>
          </a:ln>
        </p:spPr>
        <p:txBody>
          <a:bodyPr vert="horz" lIns="7200" tIns="0" rIns="0" bIns="0" rtlCol="0" anchor="t">
            <a:noAutofit/>
          </a:bodyPr>
          <a:lstStyle>
            <a:lvl1pPr>
              <a:defRPr lang="nl-NL" altLang="nl-NL" sz="1400" noProof="0" dirty="0">
                <a:solidFill>
                  <a:schemeClr val="tx1"/>
                </a:solidFill>
                <a:ea typeface="+mn-ea"/>
                <a:cs typeface="+mn-cs"/>
              </a:defRPr>
            </a:lvl1pPr>
          </a:lstStyle>
          <a:p>
            <a:pPr marL="0" lvl="0" indent="0">
              <a:spcBef>
                <a:spcPts val="375"/>
              </a:spcBef>
              <a:buClr>
                <a:schemeClr val="dk2"/>
              </a:buClr>
              <a:buFont typeface="Wingdings" panose="05000000000000000000" pitchFamily="2" charset="2"/>
            </a:pPr>
            <a:r>
              <a:rPr lang="nl-NL" noProof="0" dirty="0"/>
              <a:t>Klik om titel toe te voegen</a:t>
            </a:r>
            <a:endParaRPr lang="nl-NL" altLang="nl-NL" noProof="0" dirty="0"/>
          </a:p>
        </p:txBody>
      </p:sp>
    </p:spTree>
    <p:extLst>
      <p:ext uri="{BB962C8B-B14F-4D97-AF65-F5344CB8AC3E}">
        <p14:creationId xmlns:p14="http://schemas.microsoft.com/office/powerpoint/2010/main" val="5436161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2"/>
            </p:custDataLst>
            <p:extLst>
              <p:ext uri="{D42A27DB-BD31-4B8C-83A1-F6EECF244321}">
                <p14:modId xmlns:p14="http://schemas.microsoft.com/office/powerpoint/2010/main" val="415663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10"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400E184B-189C-4115-A2C8-A7464BBD11D3}" type="slidenum">
              <a:rPr lang="nl-NL" smtClean="0"/>
              <a:t>‹#›</a:t>
            </a:fld>
            <a:endParaRPr lang="nl-NL"/>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6110934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2"/>
            </p:custDataLst>
            <p:extLst>
              <p:ext uri="{D42A27DB-BD31-4B8C-83A1-F6EECF244321}">
                <p14:modId xmlns:p14="http://schemas.microsoft.com/office/powerpoint/2010/main" val="1851326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34"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p>
            <a:fld id="{400E184B-189C-4115-A2C8-A7464BBD11D3}" type="slidenum">
              <a:rPr lang="nl-NL" smtClean="0"/>
              <a:t>‹#›</a:t>
            </a:fld>
            <a:endParaRPr lang="nl-NL"/>
          </a:p>
        </p:txBody>
      </p:sp>
    </p:spTree>
    <p:extLst>
      <p:ext uri="{BB962C8B-B14F-4D97-AF65-F5344CB8AC3E}">
        <p14:creationId xmlns:p14="http://schemas.microsoft.com/office/powerpoint/2010/main" val="31622477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2"/>
            </p:custDataLst>
            <p:extLst>
              <p:ext uri="{D42A27DB-BD31-4B8C-83A1-F6EECF244321}">
                <p14:modId xmlns:p14="http://schemas.microsoft.com/office/powerpoint/2010/main" val="2861477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58"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p>
            <a:fld id="{400E184B-189C-4115-A2C8-A7464BBD11D3}" type="slidenum">
              <a:rPr lang="nl-NL" smtClean="0"/>
              <a:t>‹#›</a:t>
            </a:fld>
            <a:endParaRPr lang="nl-NL"/>
          </a:p>
        </p:txBody>
      </p:sp>
    </p:spTree>
    <p:extLst>
      <p:ext uri="{BB962C8B-B14F-4D97-AF65-F5344CB8AC3E}">
        <p14:creationId xmlns:p14="http://schemas.microsoft.com/office/powerpoint/2010/main" val="23556291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2"/>
            </p:custDataLst>
            <p:extLst>
              <p:ext uri="{D42A27DB-BD31-4B8C-83A1-F6EECF244321}">
                <p14:modId xmlns:p14="http://schemas.microsoft.com/office/powerpoint/2010/main" val="1927025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2"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p>
            <a:fld id="{400E184B-189C-4115-A2C8-A7464BBD11D3}" type="slidenum">
              <a:rPr lang="nl-NL" smtClean="0"/>
              <a:t>‹#›</a:t>
            </a:fld>
            <a:endParaRPr lang="nl-NL"/>
          </a:p>
        </p:txBody>
      </p:sp>
      <p:sp>
        <p:nvSpPr>
          <p:cNvPr id="3" name="Footer Placeholder 2">
            <a:extLst>
              <a:ext uri="{FF2B5EF4-FFF2-40B4-BE49-F238E27FC236}">
                <a16:creationId xmlns:a16="http://schemas.microsoft.com/office/drawing/2014/main" id="{74F7FDB0-0E02-429C-80E5-50DFFBF58C7F}"/>
              </a:ext>
            </a:extLst>
          </p:cNvPr>
          <p:cNvSpPr>
            <a:spLocks noGrp="1"/>
          </p:cNvSpPr>
          <p:nvPr>
            <p:ph type="ftr" sz="quarter" idx="17"/>
          </p:nvPr>
        </p:nvSpPr>
        <p:spPr>
          <a:xfrm>
            <a:off x="661193" y="6686783"/>
            <a:ext cx="10868400" cy="122400"/>
          </a:xfrm>
          <a:prstGeom prst="rect">
            <a:avLst/>
          </a:prstGeom>
        </p:spPr>
        <p:txBody>
          <a:bodyPr/>
          <a:lstStyle/>
          <a:p>
            <a:endParaRPr lang="nl-NL"/>
          </a:p>
        </p:txBody>
      </p:sp>
    </p:spTree>
    <p:extLst>
      <p:ext uri="{BB962C8B-B14F-4D97-AF65-F5344CB8AC3E}">
        <p14:creationId xmlns:p14="http://schemas.microsoft.com/office/powerpoint/2010/main" val="38012055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2"/>
            </p:custDataLst>
            <p:extLst>
              <p:ext uri="{D42A27DB-BD31-4B8C-83A1-F6EECF244321}">
                <p14:modId xmlns:p14="http://schemas.microsoft.com/office/powerpoint/2010/main" val="3302181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marR="0" lvl="0" indent="-180000" algn="l" defTabSz="685800" rtl="0" eaLnBrk="1" fontAlgn="auto" latinLnBrk="0" hangingPunct="1">
              <a:lnSpc>
                <a:spcPct val="90000"/>
              </a:lnSpc>
              <a:spcBef>
                <a:spcPts val="375"/>
              </a:spcBef>
              <a:spcAft>
                <a:spcPts val="0"/>
              </a:spcAft>
              <a:buClr>
                <a:schemeClr val="dk2"/>
              </a:buClr>
              <a:buSzTx/>
              <a:buFont typeface="Wingdings" panose="05000000000000000000" pitchFamily="2" charset="2"/>
              <a:buNone/>
              <a:tabLst/>
              <a:defRPr/>
            </a:pPr>
            <a:r>
              <a:rPr lang="nl-NL" noProof="0" dirty="0"/>
              <a:t>Klik om tekst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lvl="0"/>
            <a:r>
              <a:rPr lang="nl-NL" noProof="0" dirty="0"/>
              <a:t>Klik om tekst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400E184B-189C-4115-A2C8-A7464BBD11D3}" type="slidenum">
              <a:rPr lang="nl-NL" smtClean="0"/>
              <a:t>‹#›</a:t>
            </a:fld>
            <a:endParaRPr lang="nl-NL"/>
          </a:p>
        </p:txBody>
      </p:sp>
    </p:spTree>
    <p:extLst>
      <p:ext uri="{BB962C8B-B14F-4D97-AF65-F5344CB8AC3E}">
        <p14:creationId xmlns:p14="http://schemas.microsoft.com/office/powerpoint/2010/main" val="33572870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2"/>
            </p:custDataLst>
            <p:extLst>
              <p:ext uri="{D42A27DB-BD31-4B8C-83A1-F6EECF244321}">
                <p14:modId xmlns:p14="http://schemas.microsoft.com/office/powerpoint/2010/main" val="346600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06"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0" name="TextBox 9">
            <a:extLst>
              <a:ext uri="{FF2B5EF4-FFF2-40B4-BE49-F238E27FC236}">
                <a16:creationId xmlns:a16="http://schemas.microsoft.com/office/drawing/2014/main" id="{9FD64667-FDA0-4955-AD96-B84B15F30ABF}"/>
              </a:ext>
            </a:extLst>
          </p:cNvPr>
          <p:cNvSpPr txBox="1"/>
          <p:nvPr/>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11" name="Text Placeholder 4">
            <a:extLst>
              <a:ext uri="{FF2B5EF4-FFF2-40B4-BE49-F238E27FC236}">
                <a16:creationId xmlns:a16="http://schemas.microsoft.com/office/drawing/2014/main" id="{E9BF7AB1-C0BD-426E-ADDD-3700C6E9D369}"/>
              </a:ext>
            </a:extLst>
          </p:cNvPr>
          <p:cNvSpPr>
            <a:spLocks noGrp="1"/>
          </p:cNvSpPr>
          <p:nvPr>
            <p:ph type="body" sz="quarter" idx="31" hasCustomPrompt="1"/>
          </p:nvPr>
        </p:nvSpPr>
        <p:spPr>
          <a:xfrm>
            <a:off x="1617785" y="2295708"/>
            <a:ext cx="9878845" cy="576000"/>
          </a:xfrm>
        </p:spPr>
        <p:txBody>
          <a:bodyPr anchor="ctr"/>
          <a:lstStyle>
            <a:lvl1pPr marL="0" indent="0">
              <a:buNone/>
              <a:defRPr sz="1600" b="1">
                <a:solidFill>
                  <a:srgbClr val="22777B"/>
                </a:solidFill>
              </a:defRPr>
            </a:lvl1pPr>
          </a:lstStyle>
          <a:p>
            <a:pPr lvl="0"/>
            <a:r>
              <a:rPr lang="nl-NL" dirty="0"/>
              <a:t>Klik om hoofdstuktitel toe te voegen</a:t>
            </a:r>
          </a:p>
        </p:txBody>
      </p:sp>
      <p:sp>
        <p:nvSpPr>
          <p:cNvPr id="12" name="Text Placeholder 4">
            <a:extLst>
              <a:ext uri="{FF2B5EF4-FFF2-40B4-BE49-F238E27FC236}">
                <a16:creationId xmlns:a16="http://schemas.microsoft.com/office/drawing/2014/main" id="{470D5E15-35F6-4D60-BFC9-F19094A093B0}"/>
              </a:ext>
            </a:extLst>
          </p:cNvPr>
          <p:cNvSpPr>
            <a:spLocks noGrp="1"/>
          </p:cNvSpPr>
          <p:nvPr>
            <p:ph type="body" sz="quarter" idx="32" hasCustomPrompt="1"/>
          </p:nvPr>
        </p:nvSpPr>
        <p:spPr>
          <a:xfrm>
            <a:off x="1617785" y="3018689"/>
            <a:ext cx="9878845" cy="576000"/>
          </a:xfrm>
        </p:spPr>
        <p:txBody>
          <a:bodyPr anchor="ctr"/>
          <a:lstStyle>
            <a:lvl1pPr marL="0" indent="0">
              <a:buNone/>
              <a:defRPr sz="1600"/>
            </a:lvl1pPr>
          </a:lstStyle>
          <a:p>
            <a:pPr lvl="0"/>
            <a:r>
              <a:rPr lang="nl-NL" dirty="0"/>
              <a:t>Klik om hoofdstuktitel toe te voegen</a:t>
            </a:r>
          </a:p>
        </p:txBody>
      </p:sp>
      <p:sp>
        <p:nvSpPr>
          <p:cNvPr id="13" name="Text Placeholder 4">
            <a:extLst>
              <a:ext uri="{FF2B5EF4-FFF2-40B4-BE49-F238E27FC236}">
                <a16:creationId xmlns:a16="http://schemas.microsoft.com/office/drawing/2014/main" id="{58EA7D5F-7032-455F-979D-AF3928FCA8F0}"/>
              </a:ext>
            </a:extLst>
          </p:cNvPr>
          <p:cNvSpPr>
            <a:spLocks noGrp="1"/>
          </p:cNvSpPr>
          <p:nvPr>
            <p:ph type="body" sz="quarter" idx="33" hasCustomPrompt="1"/>
          </p:nvPr>
        </p:nvSpPr>
        <p:spPr>
          <a:xfrm>
            <a:off x="1617785" y="3741670"/>
            <a:ext cx="9878845" cy="576000"/>
          </a:xfrm>
        </p:spPr>
        <p:txBody>
          <a:bodyPr anchor="ctr"/>
          <a:lstStyle>
            <a:lvl1pPr marL="0" indent="0">
              <a:buNone/>
              <a:defRPr sz="1600"/>
            </a:lvl1pPr>
          </a:lstStyle>
          <a:p>
            <a:pPr lvl="0"/>
            <a:r>
              <a:rPr lang="nl-NL" dirty="0"/>
              <a:t>Klik om hoofdstuktitel toe te voegen</a:t>
            </a:r>
          </a:p>
        </p:txBody>
      </p:sp>
      <p:sp>
        <p:nvSpPr>
          <p:cNvPr id="14" name="Text Placeholder 4">
            <a:extLst>
              <a:ext uri="{FF2B5EF4-FFF2-40B4-BE49-F238E27FC236}">
                <a16:creationId xmlns:a16="http://schemas.microsoft.com/office/drawing/2014/main" id="{2EAD3ED9-BF9A-4E61-9E80-071FA1B4FE36}"/>
              </a:ext>
            </a:extLst>
          </p:cNvPr>
          <p:cNvSpPr>
            <a:spLocks noGrp="1"/>
          </p:cNvSpPr>
          <p:nvPr>
            <p:ph type="body" sz="quarter" idx="34" hasCustomPrompt="1"/>
          </p:nvPr>
        </p:nvSpPr>
        <p:spPr>
          <a:xfrm>
            <a:off x="1617785" y="4464652"/>
            <a:ext cx="9878845" cy="576000"/>
          </a:xfrm>
        </p:spPr>
        <p:txBody>
          <a:bodyPr anchor="ctr"/>
          <a:lstStyle>
            <a:lvl1pPr marL="0" indent="0">
              <a:buNone/>
              <a:defRPr sz="1600"/>
            </a:lvl1pPr>
          </a:lstStyle>
          <a:p>
            <a:pPr lvl="0"/>
            <a:r>
              <a:rPr lang="nl-NL" dirty="0"/>
              <a:t>Klik om hoofdstuktitel toe te voegen</a:t>
            </a:r>
          </a:p>
        </p:txBody>
      </p:sp>
      <p:sp>
        <p:nvSpPr>
          <p:cNvPr id="6" name="Graphic 28" descr="Arrow: Straight">
            <a:extLst>
              <a:ext uri="{FF2B5EF4-FFF2-40B4-BE49-F238E27FC236}">
                <a16:creationId xmlns:a16="http://schemas.microsoft.com/office/drawing/2014/main" id="{392F614C-6519-454A-AA95-F8B491B9921B}"/>
              </a:ext>
            </a:extLst>
          </p:cNvPr>
          <p:cNvSpPr/>
          <p:nvPr/>
        </p:nvSpPr>
        <p:spPr>
          <a:xfrm rot="10800000">
            <a:off x="919697" y="2484708"/>
            <a:ext cx="383180" cy="198000"/>
          </a:xfrm>
          <a:custGeom>
            <a:avLst/>
            <a:gdLst>
              <a:gd name="connsiteX0" fmla="*/ 104513 w 383180"/>
              <a:gd name="connsiteY0" fmla="*/ 49500 h 198000"/>
              <a:gd name="connsiteX1" fmla="*/ 104513 w 383180"/>
              <a:gd name="connsiteY1" fmla="*/ 0 h 198000"/>
              <a:gd name="connsiteX2" fmla="*/ 12 w 383180"/>
              <a:gd name="connsiteY2" fmla="*/ 99000 h 198000"/>
              <a:gd name="connsiteX3" fmla="*/ 104513 w 383180"/>
              <a:gd name="connsiteY3" fmla="*/ 198000 h 198000"/>
              <a:gd name="connsiteX4" fmla="*/ 104513 w 383180"/>
              <a:gd name="connsiteY4" fmla="*/ 148500 h 198000"/>
              <a:gd name="connsiteX5" fmla="*/ 383181 w 383180"/>
              <a:gd name="connsiteY5" fmla="*/ 99000 h 198000"/>
              <a:gd name="connsiteX6" fmla="*/ 104513 w 383180"/>
              <a:gd name="connsiteY6" fmla="*/ 49500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3180" h="198000">
                <a:moveTo>
                  <a:pt x="104513" y="49500"/>
                </a:moveTo>
                <a:lnTo>
                  <a:pt x="104513" y="0"/>
                </a:lnTo>
                <a:lnTo>
                  <a:pt x="12" y="99000"/>
                </a:lnTo>
                <a:cubicBezTo>
                  <a:pt x="-1294" y="99000"/>
                  <a:pt x="104513" y="198000"/>
                  <a:pt x="104513" y="198000"/>
                </a:cubicBezTo>
                <a:lnTo>
                  <a:pt x="104513" y="148500"/>
                </a:lnTo>
                <a:lnTo>
                  <a:pt x="383181" y="99000"/>
                </a:lnTo>
                <a:lnTo>
                  <a:pt x="104513" y="49500"/>
                </a:lnTo>
                <a:close/>
              </a:path>
            </a:pathLst>
          </a:custGeom>
          <a:solidFill>
            <a:srgbClr val="22777B"/>
          </a:solidFill>
          <a:ln w="4266" cap="flat">
            <a:noFill/>
            <a:prstDash val="solid"/>
            <a:miter/>
          </a:ln>
        </p:spPr>
        <p:txBody>
          <a:bodyPr rtlCol="0" anchor="ctr"/>
          <a:lstStyle/>
          <a:p>
            <a:endParaRPr lang="nl-NL"/>
          </a:p>
        </p:txBody>
      </p:sp>
      <p:sp>
        <p:nvSpPr>
          <p:cNvPr id="7" name="TextBox 6">
            <a:extLst>
              <a:ext uri="{FF2B5EF4-FFF2-40B4-BE49-F238E27FC236}">
                <a16:creationId xmlns:a16="http://schemas.microsoft.com/office/drawing/2014/main" id="{7ACAFD05-2721-4552-9A2E-D86C28C26BAF}"/>
              </a:ext>
            </a:extLst>
          </p:cNvPr>
          <p:cNvSpPr txBox="1"/>
          <p:nvPr/>
        </p:nvSpPr>
        <p:spPr>
          <a:xfrm>
            <a:off x="919696" y="1726756"/>
            <a:ext cx="3695436" cy="360835"/>
          </a:xfrm>
          <a:prstGeom prst="wedgeRectCallout">
            <a:avLst>
              <a:gd name="adj1" fmla="val -42038"/>
              <a:gd name="adj2" fmla="val 125487"/>
            </a:avLst>
          </a:prstGeom>
          <a:solidFill>
            <a:schemeClr val="accent6">
              <a:lumMod val="95000"/>
            </a:schemeClr>
          </a:solidFill>
        </p:spPr>
        <p:txBody>
          <a:bodyPr vert="horz" wrap="none" lIns="72000" tIns="72000" rIns="72000" bIns="72000" rtlCol="0">
            <a:noAutofit/>
          </a:bodyPr>
          <a:lstStyle/>
          <a:p>
            <a:pPr marL="0" indent="0" algn="l">
              <a:buNone/>
            </a:pPr>
            <a:r>
              <a:rPr lang="nl-NL" noProof="0" dirty="0"/>
              <a:t>(knip pijltje uit master en haal deze </a:t>
            </a:r>
            <a:r>
              <a:rPr lang="nl-NL" noProof="0" dirty="0" err="1"/>
              <a:t>callout</a:t>
            </a:r>
            <a:r>
              <a:rPr lang="nl-NL" noProof="0" dirty="0"/>
              <a:t> weg)</a:t>
            </a:r>
          </a:p>
        </p:txBody>
      </p:sp>
      <p:sp>
        <p:nvSpPr>
          <p:cNvPr id="9" name="Slide Number Placeholder 8">
            <a:extLst>
              <a:ext uri="{FF2B5EF4-FFF2-40B4-BE49-F238E27FC236}">
                <a16:creationId xmlns:a16="http://schemas.microsoft.com/office/drawing/2014/main" id="{E0E12112-6F8D-49FF-BADE-DE6E274D5264}"/>
              </a:ext>
            </a:extLst>
          </p:cNvPr>
          <p:cNvSpPr>
            <a:spLocks noGrp="1"/>
          </p:cNvSpPr>
          <p:nvPr>
            <p:ph type="sldNum" sz="quarter" idx="36"/>
          </p:nvPr>
        </p:nvSpPr>
        <p:spPr/>
        <p:txBody>
          <a:bodyPr/>
          <a:lstStyle/>
          <a:p>
            <a:fld id="{400E184B-189C-4115-A2C8-A7464BBD11D3}" type="slidenum">
              <a:rPr lang="nl-NL" smtClean="0"/>
              <a:t>‹#›</a:t>
            </a:fld>
            <a:endParaRPr lang="nl-NL"/>
          </a:p>
        </p:txBody>
      </p:sp>
    </p:spTree>
    <p:extLst>
      <p:ext uri="{BB962C8B-B14F-4D97-AF65-F5344CB8AC3E}">
        <p14:creationId xmlns:p14="http://schemas.microsoft.com/office/powerpoint/2010/main" val="25691299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Inhoud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2"/>
            </p:custDataLst>
            <p:extLst>
              <p:ext uri="{D42A27DB-BD31-4B8C-83A1-F6EECF244321}">
                <p14:modId xmlns:p14="http://schemas.microsoft.com/office/powerpoint/2010/main" val="2886003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30"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 name="Content Placeholder 35">
            <a:extLst>
              <a:ext uri="{FF2B5EF4-FFF2-40B4-BE49-F238E27FC236}">
                <a16:creationId xmlns:a16="http://schemas.microsoft.com/office/drawing/2014/main" id="{34C151A4-AFB3-4015-9E39-840258F2FA94}"/>
              </a:ext>
            </a:extLst>
          </p:cNvPr>
          <p:cNvSpPr>
            <a:spLocks noGrp="1"/>
          </p:cNvSpPr>
          <p:nvPr>
            <p:ph sz="quarter" idx="36" hasCustomPrompt="1"/>
          </p:nvPr>
        </p:nvSpPr>
        <p:spPr>
          <a:xfrm>
            <a:off x="919697" y="2295577"/>
            <a:ext cx="576000" cy="576263"/>
          </a:xfrm>
          <a:prstGeom prst="ellipse">
            <a:avLst/>
          </a:prstGeom>
        </p:spPr>
        <p:txBody>
          <a:bodyPr/>
          <a:lstStyle>
            <a:lvl1pPr marL="0" indent="0">
              <a:buNone/>
              <a:defRPr>
                <a:noFill/>
              </a:defRPr>
            </a:lvl1pPr>
          </a:lstStyle>
          <a:p>
            <a:pPr lvl="0"/>
            <a:r>
              <a:rPr lang="nl-NL" dirty="0"/>
              <a:t>Kleur</a:t>
            </a:r>
          </a:p>
        </p:txBody>
      </p:sp>
      <p:sp>
        <p:nvSpPr>
          <p:cNvPr id="2" name="Rectangle 1" hidden="1">
            <a:extLst>
              <a:ext uri="{FF2B5EF4-FFF2-40B4-BE49-F238E27FC236}">
                <a16:creationId xmlns:a16="http://schemas.microsoft.com/office/drawing/2014/main" id="{05C4B829-4A4B-469C-B4EE-210A766FCE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Box 7">
            <a:extLst>
              <a:ext uri="{FF2B5EF4-FFF2-40B4-BE49-F238E27FC236}">
                <a16:creationId xmlns:a16="http://schemas.microsoft.com/office/drawing/2014/main" id="{52146E83-4C14-47A3-B888-D33F15C317A7}"/>
              </a:ext>
            </a:extLst>
          </p:cNvPr>
          <p:cNvSpPr txBox="1"/>
          <p:nvPr/>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5" name="Text Placeholder 4">
            <a:extLst>
              <a:ext uri="{FF2B5EF4-FFF2-40B4-BE49-F238E27FC236}">
                <a16:creationId xmlns:a16="http://schemas.microsoft.com/office/drawing/2014/main" id="{FDC33D46-2F7B-445F-85F2-EA6928F0CE89}"/>
              </a:ext>
            </a:extLst>
          </p:cNvPr>
          <p:cNvSpPr>
            <a:spLocks noGrp="1"/>
          </p:cNvSpPr>
          <p:nvPr>
            <p:ph type="body" sz="quarter" idx="31" hasCustomPrompt="1"/>
          </p:nvPr>
        </p:nvSpPr>
        <p:spPr>
          <a:xfrm>
            <a:off x="1617785" y="2295708"/>
            <a:ext cx="9878845" cy="576000"/>
          </a:xfrm>
        </p:spPr>
        <p:txBody>
          <a:bodyPr anchor="ctr"/>
          <a:lstStyle>
            <a:lvl1pPr marL="0" indent="0">
              <a:buNone/>
              <a:defRPr sz="1600"/>
            </a:lvl1pPr>
          </a:lstStyle>
          <a:p>
            <a:pPr lvl="0"/>
            <a:r>
              <a:rPr lang="nl-NL" dirty="0"/>
              <a:t>Klik om hoofdstuktitel toe te voegen</a:t>
            </a:r>
          </a:p>
        </p:txBody>
      </p:sp>
      <p:sp>
        <p:nvSpPr>
          <p:cNvPr id="30" name="Text Placeholder 4">
            <a:extLst>
              <a:ext uri="{FF2B5EF4-FFF2-40B4-BE49-F238E27FC236}">
                <a16:creationId xmlns:a16="http://schemas.microsoft.com/office/drawing/2014/main" id="{B1B9703B-FADB-4FA6-B8FB-E3BF076CBA2C}"/>
              </a:ext>
            </a:extLst>
          </p:cNvPr>
          <p:cNvSpPr>
            <a:spLocks noGrp="1"/>
          </p:cNvSpPr>
          <p:nvPr>
            <p:ph type="body" sz="quarter" idx="32" hasCustomPrompt="1"/>
          </p:nvPr>
        </p:nvSpPr>
        <p:spPr>
          <a:xfrm>
            <a:off x="1617785" y="3073102"/>
            <a:ext cx="9878845" cy="576000"/>
          </a:xfrm>
        </p:spPr>
        <p:txBody>
          <a:bodyPr anchor="ctr"/>
          <a:lstStyle>
            <a:lvl1pPr marL="0" indent="0">
              <a:buNone/>
              <a:defRPr sz="1600"/>
            </a:lvl1pPr>
          </a:lstStyle>
          <a:p>
            <a:pPr lvl="0"/>
            <a:r>
              <a:rPr lang="nl-NL" dirty="0"/>
              <a:t>Klik om hoofdstuktitel toe te voegen</a:t>
            </a:r>
          </a:p>
        </p:txBody>
      </p:sp>
      <p:sp>
        <p:nvSpPr>
          <p:cNvPr id="31" name="Text Placeholder 4">
            <a:extLst>
              <a:ext uri="{FF2B5EF4-FFF2-40B4-BE49-F238E27FC236}">
                <a16:creationId xmlns:a16="http://schemas.microsoft.com/office/drawing/2014/main" id="{6E23FF3B-3585-451E-B36D-95D91B1AD445}"/>
              </a:ext>
            </a:extLst>
          </p:cNvPr>
          <p:cNvSpPr>
            <a:spLocks noGrp="1"/>
          </p:cNvSpPr>
          <p:nvPr>
            <p:ph type="body" sz="quarter" idx="33" hasCustomPrompt="1"/>
          </p:nvPr>
        </p:nvSpPr>
        <p:spPr>
          <a:xfrm>
            <a:off x="1617785" y="3850181"/>
            <a:ext cx="9878845" cy="576000"/>
          </a:xfrm>
        </p:spPr>
        <p:txBody>
          <a:bodyPr anchor="ctr"/>
          <a:lstStyle>
            <a:lvl1pPr marL="0" indent="0">
              <a:buNone/>
              <a:defRPr sz="1600"/>
            </a:lvl1pPr>
          </a:lstStyle>
          <a:p>
            <a:pPr lvl="0"/>
            <a:r>
              <a:rPr lang="nl-NL" dirty="0"/>
              <a:t>Klik om hoofdstuktitel toe te voegen</a:t>
            </a:r>
          </a:p>
        </p:txBody>
      </p:sp>
      <p:sp>
        <p:nvSpPr>
          <p:cNvPr id="32" name="Text Placeholder 4">
            <a:extLst>
              <a:ext uri="{FF2B5EF4-FFF2-40B4-BE49-F238E27FC236}">
                <a16:creationId xmlns:a16="http://schemas.microsoft.com/office/drawing/2014/main" id="{B526D535-2FCB-4390-8380-2F13D7A4761C}"/>
              </a:ext>
            </a:extLst>
          </p:cNvPr>
          <p:cNvSpPr>
            <a:spLocks noGrp="1"/>
          </p:cNvSpPr>
          <p:nvPr>
            <p:ph type="body" sz="quarter" idx="34" hasCustomPrompt="1"/>
          </p:nvPr>
        </p:nvSpPr>
        <p:spPr>
          <a:xfrm>
            <a:off x="1617785" y="4627259"/>
            <a:ext cx="9878845" cy="576000"/>
          </a:xfrm>
        </p:spPr>
        <p:txBody>
          <a:bodyPr anchor="ctr"/>
          <a:lstStyle>
            <a:lvl1pPr marL="0" indent="0">
              <a:buNone/>
              <a:defRPr sz="1600"/>
            </a:lvl1pPr>
          </a:lstStyle>
          <a:p>
            <a:pPr lvl="0"/>
            <a:r>
              <a:rPr lang="nl-NL" dirty="0"/>
              <a:t>Klik om hoofdstuktitel toe te voegen</a:t>
            </a:r>
          </a:p>
        </p:txBody>
      </p:sp>
      <p:sp>
        <p:nvSpPr>
          <p:cNvPr id="34" name="Content Placeholder 33">
            <a:extLst>
              <a:ext uri="{FF2B5EF4-FFF2-40B4-BE49-F238E27FC236}">
                <a16:creationId xmlns:a16="http://schemas.microsoft.com/office/drawing/2014/main" id="{CB7EA44B-E1AE-4106-A865-656870EDF45E}"/>
              </a:ext>
            </a:extLst>
          </p:cNvPr>
          <p:cNvSpPr>
            <a:spLocks noGrp="1"/>
          </p:cNvSpPr>
          <p:nvPr>
            <p:ph sz="quarter" idx="35" hasCustomPrompt="1"/>
          </p:nvPr>
        </p:nvSpPr>
        <p:spPr>
          <a:xfrm>
            <a:off x="1020497" y="2396508"/>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7" name="Content Placeholder 35">
            <a:extLst>
              <a:ext uri="{FF2B5EF4-FFF2-40B4-BE49-F238E27FC236}">
                <a16:creationId xmlns:a16="http://schemas.microsoft.com/office/drawing/2014/main" id="{F350D63D-035F-4B56-9C49-F8894DDB98C8}"/>
              </a:ext>
            </a:extLst>
          </p:cNvPr>
          <p:cNvSpPr>
            <a:spLocks noGrp="1"/>
          </p:cNvSpPr>
          <p:nvPr>
            <p:ph sz="quarter" idx="37" hasCustomPrompt="1"/>
          </p:nvPr>
        </p:nvSpPr>
        <p:spPr>
          <a:xfrm>
            <a:off x="919697" y="3072839"/>
            <a:ext cx="576000" cy="576263"/>
          </a:xfrm>
          <a:prstGeom prst="ellipse">
            <a:avLst/>
          </a:prstGeom>
        </p:spPr>
        <p:txBody>
          <a:bodyPr/>
          <a:lstStyle>
            <a:lvl1pPr marL="0" indent="0">
              <a:buNone/>
              <a:defRPr>
                <a:noFill/>
              </a:defRPr>
            </a:lvl1pPr>
          </a:lstStyle>
          <a:p>
            <a:pPr lvl="0"/>
            <a:r>
              <a:rPr lang="nl-NL" dirty="0"/>
              <a:t>Kleur</a:t>
            </a:r>
          </a:p>
        </p:txBody>
      </p:sp>
      <p:sp>
        <p:nvSpPr>
          <p:cNvPr id="38" name="Content Placeholder 33">
            <a:extLst>
              <a:ext uri="{FF2B5EF4-FFF2-40B4-BE49-F238E27FC236}">
                <a16:creationId xmlns:a16="http://schemas.microsoft.com/office/drawing/2014/main" id="{8D00E5AB-2194-4FC2-8650-AF31295D2099}"/>
              </a:ext>
            </a:extLst>
          </p:cNvPr>
          <p:cNvSpPr>
            <a:spLocks noGrp="1"/>
          </p:cNvSpPr>
          <p:nvPr>
            <p:ph sz="quarter" idx="38" hasCustomPrompt="1"/>
          </p:nvPr>
        </p:nvSpPr>
        <p:spPr>
          <a:xfrm>
            <a:off x="1020497" y="317377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9" name="Content Placeholder 35">
            <a:extLst>
              <a:ext uri="{FF2B5EF4-FFF2-40B4-BE49-F238E27FC236}">
                <a16:creationId xmlns:a16="http://schemas.microsoft.com/office/drawing/2014/main" id="{156B25DE-A0D6-46DE-9D2C-868140B3D3AF}"/>
              </a:ext>
            </a:extLst>
          </p:cNvPr>
          <p:cNvSpPr>
            <a:spLocks noGrp="1"/>
          </p:cNvSpPr>
          <p:nvPr>
            <p:ph sz="quarter" idx="39" hasCustomPrompt="1"/>
          </p:nvPr>
        </p:nvSpPr>
        <p:spPr>
          <a:xfrm>
            <a:off x="919697" y="4627259"/>
            <a:ext cx="576000" cy="576263"/>
          </a:xfrm>
          <a:prstGeom prst="ellipse">
            <a:avLst/>
          </a:prstGeom>
        </p:spPr>
        <p:txBody>
          <a:bodyPr/>
          <a:lstStyle>
            <a:lvl1pPr marL="0" indent="0">
              <a:buNone/>
              <a:defRPr>
                <a:noFill/>
              </a:defRPr>
            </a:lvl1pPr>
          </a:lstStyle>
          <a:p>
            <a:pPr lvl="0"/>
            <a:r>
              <a:rPr lang="nl-NL" dirty="0"/>
              <a:t>Kleur</a:t>
            </a:r>
          </a:p>
        </p:txBody>
      </p:sp>
      <p:sp>
        <p:nvSpPr>
          <p:cNvPr id="40" name="Content Placeholder 33">
            <a:extLst>
              <a:ext uri="{FF2B5EF4-FFF2-40B4-BE49-F238E27FC236}">
                <a16:creationId xmlns:a16="http://schemas.microsoft.com/office/drawing/2014/main" id="{F9193A0D-3023-48D2-9562-A7C00B68F2B3}"/>
              </a:ext>
            </a:extLst>
          </p:cNvPr>
          <p:cNvSpPr>
            <a:spLocks noGrp="1"/>
          </p:cNvSpPr>
          <p:nvPr>
            <p:ph sz="quarter" idx="40" hasCustomPrompt="1"/>
          </p:nvPr>
        </p:nvSpPr>
        <p:spPr>
          <a:xfrm>
            <a:off x="1020497" y="472819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41" name="Content Placeholder 35">
            <a:extLst>
              <a:ext uri="{FF2B5EF4-FFF2-40B4-BE49-F238E27FC236}">
                <a16:creationId xmlns:a16="http://schemas.microsoft.com/office/drawing/2014/main" id="{832AF622-7277-4D8A-8E59-D37829E543AF}"/>
              </a:ext>
            </a:extLst>
          </p:cNvPr>
          <p:cNvSpPr>
            <a:spLocks noGrp="1"/>
          </p:cNvSpPr>
          <p:nvPr>
            <p:ph sz="quarter" idx="41" hasCustomPrompt="1"/>
          </p:nvPr>
        </p:nvSpPr>
        <p:spPr>
          <a:xfrm>
            <a:off x="919697" y="3849918"/>
            <a:ext cx="576000" cy="576263"/>
          </a:xfrm>
          <a:prstGeom prst="ellipse">
            <a:avLst/>
          </a:prstGeom>
        </p:spPr>
        <p:txBody>
          <a:bodyPr/>
          <a:lstStyle>
            <a:lvl1pPr marL="0" indent="0">
              <a:buNone/>
              <a:defRPr>
                <a:noFill/>
              </a:defRPr>
            </a:lvl1pPr>
          </a:lstStyle>
          <a:p>
            <a:pPr lvl="0"/>
            <a:r>
              <a:rPr lang="nl-NL" dirty="0"/>
              <a:t>Kleur</a:t>
            </a:r>
          </a:p>
        </p:txBody>
      </p:sp>
      <p:sp>
        <p:nvSpPr>
          <p:cNvPr id="42" name="Content Placeholder 33">
            <a:extLst>
              <a:ext uri="{FF2B5EF4-FFF2-40B4-BE49-F238E27FC236}">
                <a16:creationId xmlns:a16="http://schemas.microsoft.com/office/drawing/2014/main" id="{C6633357-A625-4BAE-B7C2-AF4DADA78DA8}"/>
              </a:ext>
            </a:extLst>
          </p:cNvPr>
          <p:cNvSpPr>
            <a:spLocks noGrp="1"/>
          </p:cNvSpPr>
          <p:nvPr>
            <p:ph sz="quarter" idx="42" hasCustomPrompt="1"/>
          </p:nvPr>
        </p:nvSpPr>
        <p:spPr>
          <a:xfrm>
            <a:off x="1020497" y="3950849"/>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Tree>
    <p:extLst>
      <p:ext uri="{BB962C8B-B14F-4D97-AF65-F5344CB8AC3E}">
        <p14:creationId xmlns:p14="http://schemas.microsoft.com/office/powerpoint/2010/main" val="30299662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Cover L Pic">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2"/>
            </p:custDataLst>
            <p:extLst>
              <p:ext uri="{D42A27DB-BD31-4B8C-83A1-F6EECF244321}">
                <p14:modId xmlns:p14="http://schemas.microsoft.com/office/powerpoint/2010/main" val="173197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54"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TextBox 8">
            <a:extLst>
              <a:ext uri="{FF2B5EF4-FFF2-40B4-BE49-F238E27FC236}">
                <a16:creationId xmlns:a16="http://schemas.microsoft.com/office/drawing/2014/main" id="{3E408D0B-1C14-4E7B-8EB7-FDE06942DF52}"/>
              </a:ext>
            </a:extLst>
          </p:cNvPr>
          <p:cNvSpPr txBox="1"/>
          <p:nvPr/>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14" name="Text Placeholder 4">
            <a:extLst>
              <a:ext uri="{FF2B5EF4-FFF2-40B4-BE49-F238E27FC236}">
                <a16:creationId xmlns:a16="http://schemas.microsoft.com/office/drawing/2014/main" id="{6E8D33AE-4BDF-4CC3-A20E-EE02C90CFC08}"/>
              </a:ext>
            </a:extLst>
          </p:cNvPr>
          <p:cNvSpPr>
            <a:spLocks noGrp="1"/>
          </p:cNvSpPr>
          <p:nvPr>
            <p:ph type="body" sz="quarter" idx="31" hasCustomPrompt="1"/>
          </p:nvPr>
        </p:nvSpPr>
        <p:spPr>
          <a:xfrm>
            <a:off x="919697" y="2295708"/>
            <a:ext cx="9878845" cy="576000"/>
          </a:xfrm>
          <a:solidFill>
            <a:srgbClr val="22777B"/>
          </a:solidFill>
        </p:spPr>
        <p:txBody>
          <a:bodyPr anchor="ctr"/>
          <a:lstStyle>
            <a:lvl1pPr marL="0" indent="0">
              <a:buNone/>
              <a:defRPr sz="1600" b="1">
                <a:solidFill>
                  <a:schemeClr val="bg1"/>
                </a:solidFill>
              </a:defRPr>
            </a:lvl1pPr>
          </a:lstStyle>
          <a:p>
            <a:pPr lvl="0"/>
            <a:r>
              <a:rPr lang="nl-NL" dirty="0"/>
              <a:t>Klik om hoofdstuktitel toe te voegen</a:t>
            </a:r>
          </a:p>
        </p:txBody>
      </p:sp>
      <p:sp>
        <p:nvSpPr>
          <p:cNvPr id="15" name="Text Placeholder 4">
            <a:extLst>
              <a:ext uri="{FF2B5EF4-FFF2-40B4-BE49-F238E27FC236}">
                <a16:creationId xmlns:a16="http://schemas.microsoft.com/office/drawing/2014/main" id="{1ABDBFFE-C3A3-4E71-B692-F286AE382B40}"/>
              </a:ext>
            </a:extLst>
          </p:cNvPr>
          <p:cNvSpPr>
            <a:spLocks noGrp="1"/>
          </p:cNvSpPr>
          <p:nvPr>
            <p:ph type="body" sz="quarter" idx="32" hasCustomPrompt="1"/>
          </p:nvPr>
        </p:nvSpPr>
        <p:spPr>
          <a:xfrm>
            <a:off x="919697" y="2922689"/>
            <a:ext cx="9878845" cy="576000"/>
          </a:xfrm>
          <a:solidFill>
            <a:schemeClr val="bg1">
              <a:lumMod val="95000"/>
            </a:schemeClr>
          </a:solidFill>
        </p:spPr>
        <p:txBody>
          <a:bodyPr anchor="ctr"/>
          <a:lstStyle>
            <a:lvl1pPr marL="0" indent="0">
              <a:buNone/>
              <a:defRPr sz="1600" b="0"/>
            </a:lvl1pPr>
          </a:lstStyle>
          <a:p>
            <a:pPr lvl="0"/>
            <a:r>
              <a:rPr lang="nl-NL" dirty="0"/>
              <a:t>Klik om hoofdstuktitel toe te voegen</a:t>
            </a:r>
          </a:p>
        </p:txBody>
      </p:sp>
      <p:sp>
        <p:nvSpPr>
          <p:cNvPr id="16" name="Text Placeholder 4">
            <a:extLst>
              <a:ext uri="{FF2B5EF4-FFF2-40B4-BE49-F238E27FC236}">
                <a16:creationId xmlns:a16="http://schemas.microsoft.com/office/drawing/2014/main" id="{AF144E65-6C21-437A-804A-75A9C5AD7BE0}"/>
              </a:ext>
            </a:extLst>
          </p:cNvPr>
          <p:cNvSpPr>
            <a:spLocks noGrp="1"/>
          </p:cNvSpPr>
          <p:nvPr>
            <p:ph type="body" sz="quarter" idx="33" hasCustomPrompt="1"/>
          </p:nvPr>
        </p:nvSpPr>
        <p:spPr>
          <a:xfrm>
            <a:off x="919697" y="3549670"/>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
        <p:nvSpPr>
          <p:cNvPr id="17" name="Text Placeholder 4">
            <a:extLst>
              <a:ext uri="{FF2B5EF4-FFF2-40B4-BE49-F238E27FC236}">
                <a16:creationId xmlns:a16="http://schemas.microsoft.com/office/drawing/2014/main" id="{EA95A1DB-BF6E-4DDF-83B9-50B7096FB8F8}"/>
              </a:ext>
            </a:extLst>
          </p:cNvPr>
          <p:cNvSpPr>
            <a:spLocks noGrp="1"/>
          </p:cNvSpPr>
          <p:nvPr>
            <p:ph type="body" sz="quarter" idx="34" hasCustomPrompt="1"/>
          </p:nvPr>
        </p:nvSpPr>
        <p:spPr>
          <a:xfrm>
            <a:off x="919696" y="4176651"/>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Tree>
    <p:extLst>
      <p:ext uri="{BB962C8B-B14F-4D97-AF65-F5344CB8AC3E}">
        <p14:creationId xmlns:p14="http://schemas.microsoft.com/office/powerpoint/2010/main" val="803762373"/>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2"/>
            </p:custDataLst>
            <p:extLst>
              <p:ext uri="{D42A27DB-BD31-4B8C-83A1-F6EECF244321}">
                <p14:modId xmlns:p14="http://schemas.microsoft.com/office/powerpoint/2010/main" val="3731637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78"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400E184B-189C-4115-A2C8-A7464BBD11D3}" type="slidenum">
              <a:rPr lang="nl-NL" smtClean="0"/>
              <a:t>‹#›</a:t>
            </a:fld>
            <a:endParaRPr lang="nl-NL"/>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8309346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2"/>
            </p:custDataLst>
            <p:extLst>
              <p:ext uri="{D42A27DB-BD31-4B8C-83A1-F6EECF244321}">
                <p14:modId xmlns:p14="http://schemas.microsoft.com/office/powerpoint/2010/main" val="3972517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02" name="think-cell Slide" r:id="rId4" imgW="501" imgH="502" progId="TCLayout.ActiveDocument.1">
                  <p:embed/>
                </p:oleObj>
              </mc:Choice>
              <mc:Fallback>
                <p:oleObj name="think-cell Slide" r:id="rId4"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a:xfrm>
            <a:off x="10989437" y="6688612"/>
            <a:ext cx="1023140" cy="163513"/>
          </a:xfrm>
          <a:prstGeom prst="rect">
            <a:avLst/>
          </a:prstGeom>
        </p:spPr>
        <p:txBody>
          <a:bodyPr/>
          <a:lstStyle/>
          <a:p>
            <a:fld id="{400E184B-189C-4115-A2C8-A7464BBD11D3}" type="slidenum">
              <a:rPr lang="nl-NL" smtClean="0"/>
              <a:t>‹#›</a:t>
            </a:fld>
            <a:endParaRPr lang="nl-NL"/>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38475919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2"/>
            </p:custDataLst>
            <p:extLst>
              <p:ext uri="{D42A27DB-BD31-4B8C-83A1-F6EECF244321}">
                <p14:modId xmlns:p14="http://schemas.microsoft.com/office/powerpoint/2010/main" val="3208358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26"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A1CC6EC6-EC4A-4CCD-8E83-68494C8753B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75DEDF61-D0AA-4104-A8D4-B0406C012C3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141D24E2-A013-4401-84FB-25D9F21F720D}"/>
              </a:ext>
            </a:extLst>
          </p:cNvPr>
          <p:cNvSpPr>
            <a:spLocks noGrp="1"/>
          </p:cNvSpPr>
          <p:nvPr>
            <p:ph type="sldNum" sz="quarter" idx="12"/>
          </p:nvPr>
        </p:nvSpPr>
        <p:spPr>
          <a:xfrm>
            <a:off x="10989444" y="6684903"/>
            <a:ext cx="1023140" cy="163513"/>
          </a:xfrm>
          <a:prstGeom prst="rect">
            <a:avLst/>
          </a:prstGeom>
        </p:spPr>
        <p:txBody>
          <a:bodyPr/>
          <a:lstStyle/>
          <a:p>
            <a:fld id="{400E184B-189C-4115-A2C8-A7464BBD11D3}" type="slidenum">
              <a:rPr lang="nl-NL" smtClean="0"/>
              <a:t>‹#›</a:t>
            </a:fld>
            <a:endParaRPr lang="nl-NL"/>
          </a:p>
        </p:txBody>
      </p:sp>
    </p:spTree>
    <p:extLst>
      <p:ext uri="{BB962C8B-B14F-4D97-AF65-F5344CB8AC3E}">
        <p14:creationId xmlns:p14="http://schemas.microsoft.com/office/powerpoint/2010/main" val="42543018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2"/>
            </p:custDataLst>
            <p:extLst>
              <p:ext uri="{D42A27DB-BD31-4B8C-83A1-F6EECF244321}">
                <p14:modId xmlns:p14="http://schemas.microsoft.com/office/powerpoint/2010/main" val="2223228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50"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30" name="Footnote">
            <a:extLst>
              <a:ext uri="{FF2B5EF4-FFF2-40B4-BE49-F238E27FC236}">
                <a16:creationId xmlns:a16="http://schemas.microsoft.com/office/drawing/2014/main" id="{BAE6918C-BA6B-443D-8DEA-7B54F5C7AAE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B52750C4-AA32-44BB-9C80-10FCEB69B711}"/>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32" name="Slide Number Placeholder">
            <a:extLst>
              <a:ext uri="{FF2B5EF4-FFF2-40B4-BE49-F238E27FC236}">
                <a16:creationId xmlns:a16="http://schemas.microsoft.com/office/drawing/2014/main" id="{90B24E08-7C33-4EE1-8E8A-8057549F0A12}"/>
              </a:ext>
            </a:extLst>
          </p:cNvPr>
          <p:cNvSpPr>
            <a:spLocks noGrp="1"/>
          </p:cNvSpPr>
          <p:nvPr>
            <p:ph type="sldNum" sz="quarter" idx="12"/>
          </p:nvPr>
        </p:nvSpPr>
        <p:spPr>
          <a:xfrm>
            <a:off x="10989444" y="6684903"/>
            <a:ext cx="1023140" cy="163513"/>
          </a:xfrm>
          <a:prstGeom prst="rect">
            <a:avLst/>
          </a:prstGeom>
        </p:spPr>
        <p:txBody>
          <a:bodyPr/>
          <a:lstStyle/>
          <a:p>
            <a:fld id="{400E184B-189C-4115-A2C8-A7464BBD11D3}" type="slidenum">
              <a:rPr lang="nl-NL" smtClean="0"/>
              <a:t>‹#›</a:t>
            </a:fld>
            <a:endParaRPr lang="nl-NL"/>
          </a:p>
        </p:txBody>
      </p:sp>
    </p:spTree>
    <p:extLst>
      <p:ext uri="{BB962C8B-B14F-4D97-AF65-F5344CB8AC3E}">
        <p14:creationId xmlns:p14="http://schemas.microsoft.com/office/powerpoint/2010/main" val="27242434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2"/>
            </p:custDataLst>
            <p:extLst>
              <p:ext uri="{D42A27DB-BD31-4B8C-83A1-F6EECF244321}">
                <p14:modId xmlns:p14="http://schemas.microsoft.com/office/powerpoint/2010/main" val="2226180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74" name="think-cell Slide" r:id="rId4" imgW="501" imgH="502" progId="TCLayout.ActiveDocument.1">
                  <p:embed/>
                </p:oleObj>
              </mc:Choice>
              <mc:Fallback>
                <p:oleObj name="think-cell Slide" r:id="rId4"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a:xfrm>
            <a:off x="10989437" y="6688612"/>
            <a:ext cx="1023140" cy="163513"/>
          </a:xfrm>
          <a:prstGeom prst="rect">
            <a:avLst/>
          </a:prstGeom>
        </p:spPr>
        <p:txBody>
          <a:bodyPr/>
          <a:lstStyle>
            <a:lvl1pPr>
              <a:defRPr>
                <a:solidFill>
                  <a:schemeClr val="bg1"/>
                </a:solidFill>
              </a:defRPr>
            </a:lvl1pPr>
          </a:lstStyle>
          <a:p>
            <a:fld id="{400E184B-189C-4115-A2C8-A7464BBD11D3}" type="slidenum">
              <a:rPr lang="nl-NL" smtClean="0"/>
              <a:t>‹#›</a:t>
            </a:fld>
            <a:endParaRPr lang="nl-NL"/>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a:t>
            </a:r>
            <a:r>
              <a:rPr kumimoji="0" lang="nl-NL" sz="14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Middenlaan</a:t>
            </a: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a:spcBef>
                <a:spcPts val="0"/>
              </a:spcBef>
              <a:buNone/>
              <a:defRPr>
                <a:solidFill>
                  <a:schemeClr val="bg1"/>
                </a:solidFill>
              </a:defRPr>
            </a:lvl1pPr>
          </a:lstStyle>
          <a:p>
            <a:pPr lvl="0"/>
            <a:r>
              <a:rPr lang="nl-NL" noProof="0"/>
              <a:t>Naam Achternaam (naam.achternaam@itspublic.nl)</a:t>
            </a:r>
          </a:p>
        </p:txBody>
      </p:sp>
    </p:spTree>
    <p:extLst>
      <p:ext uri="{BB962C8B-B14F-4D97-AF65-F5344CB8AC3E}">
        <p14:creationId xmlns:p14="http://schemas.microsoft.com/office/powerpoint/2010/main" val="7844919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Box (2)">
    <p:spTree>
      <p:nvGrpSpPr>
        <p:cNvPr id="1" name=""/>
        <p:cNvGrpSpPr/>
        <p:nvPr/>
      </p:nvGrpSpPr>
      <p:grpSpPr>
        <a:xfrm>
          <a:off x="0" y="0"/>
          <a:ext cx="0" cy="0"/>
          <a:chOff x="0" y="0"/>
          <a:chExt cx="0" cy="0"/>
        </a:xfrm>
      </p:grpSpPr>
      <p:sp>
        <p:nvSpPr>
          <p:cNvPr id="8" name="Do not remove" hidden="1">
            <a:extLst>
              <a:ext uri="{FF2B5EF4-FFF2-40B4-BE49-F238E27FC236}">
                <a16:creationId xmlns:a16="http://schemas.microsoft.com/office/drawing/2014/main" id="{171265D9-D507-446D-B185-2BDB428639A1}"/>
              </a:ext>
            </a:extLst>
          </p:cNvPr>
          <p:cNvSpPr/>
          <p:nvPr userDrawn="1">
            <p:custDataLst>
              <p:tags r:id="rId1"/>
            </p:custDataLst>
          </p:nvPr>
        </p:nvSpPr>
        <p:spPr>
          <a:xfrm>
            <a:off x="0" y="0"/>
            <a:ext cx="12700" cy="12700"/>
          </a:xfrm>
          <a:prstGeom prst="octagon">
            <a:avLst/>
          </a:prstGeom>
          <a:noFill/>
          <a:extLst>
            <a:ext uri="{909E8E84-426E-40DD-AFC4-6F175D3DCCD1}">
              <a14:hiddenFill xmlns:a14="http://schemas.microsoft.com/office/drawing/2010/main">
                <a:solidFill>
                  <a:schemeClr val="bg1">
                    <a:lumMod val="95000"/>
                  </a:schemeClr>
                </a:solidFill>
              </a14:hiddenFill>
            </a:ext>
          </a:extLst>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en-GB"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 name="Date Placeholder 2">
            <a:extLst>
              <a:ext uri="{FF2B5EF4-FFF2-40B4-BE49-F238E27FC236}">
                <a16:creationId xmlns:a16="http://schemas.microsoft.com/office/drawing/2014/main" id="{C6A750DB-88E5-4518-819C-0E6533EB5915}"/>
              </a:ext>
            </a:extLst>
          </p:cNvPr>
          <p:cNvSpPr>
            <a:spLocks noGrp="1"/>
          </p:cNvSpPr>
          <p:nvPr>
            <p:ph type="dt" sz="half" idx="10"/>
          </p:nvPr>
        </p:nvSpPr>
        <p:spPr>
          <a:xfrm rot="16200000">
            <a:off x="-1250155" y="5364957"/>
            <a:ext cx="2668589" cy="168275"/>
          </a:xfrm>
          <a:prstGeom prst="rect">
            <a:avLst/>
          </a:prstGeom>
        </p:spPr>
        <p:txBody>
          <a:bodyPr/>
          <a:lstStyle/>
          <a:p>
            <a:fld id="{D1D7975E-A74A-4535-9A3E-8E238F697EA4}" type="datetimeFigureOut">
              <a:rPr lang="nl-NL" smtClean="0"/>
              <a:pPr/>
              <a:t>7-2-2022</a:t>
            </a:fld>
            <a:endParaRPr lang="nl-NL"/>
          </a:p>
        </p:txBody>
      </p:sp>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a:xfrm>
            <a:off x="658813" y="6619875"/>
            <a:ext cx="9753023" cy="163512"/>
          </a:xfrm>
          <a:prstGeom prst="rect">
            <a:avLst/>
          </a:prstGeom>
        </p:spPr>
        <p:txBody>
          <a:body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a:xfrm>
            <a:off x="10510048" y="6619875"/>
            <a:ext cx="1023140" cy="168275"/>
          </a:xfrm>
          <a:prstGeom prst="rect">
            <a:avLst/>
          </a:prstGeom>
        </p:spPr>
        <p:txBody>
          <a:bodyPr/>
          <a:lstStyle/>
          <a:p>
            <a:fld id="{992CD0B2-8AB2-4C6C-8876-E15753662C9B}" type="slidenum">
              <a:rPr lang="nl-NL" smtClean="0"/>
              <a:pPr/>
              <a:t>‹#›</a:t>
            </a:fld>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Tree>
    <p:extLst>
      <p:ext uri="{BB962C8B-B14F-4D97-AF65-F5344CB8AC3E}">
        <p14:creationId xmlns:p14="http://schemas.microsoft.com/office/powerpoint/2010/main" val="20254714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2"/>
            </p:custDataLst>
            <p:extLst>
              <p:ext uri="{D42A27DB-BD31-4B8C-83A1-F6EECF244321}">
                <p14:modId xmlns:p14="http://schemas.microsoft.com/office/powerpoint/2010/main" val="445805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EF18163C-3032-4085-8BA6-8A0653035EF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86F4C4B1-9275-48CF-AA51-4C4AE2EEF9A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7DB9CF3A-2012-49F0-8AB0-1AC736EA4795}"/>
              </a:ext>
            </a:extLst>
          </p:cNvPr>
          <p:cNvSpPr>
            <a:spLocks noGrp="1"/>
          </p:cNvSpPr>
          <p:nvPr>
            <p:ph type="sldNum" sz="quarter" idx="12"/>
          </p:nvPr>
        </p:nvSpPr>
        <p:spPr>
          <a:xfrm>
            <a:off x="10989444" y="6684903"/>
            <a:ext cx="1023140" cy="163513"/>
          </a:xfrm>
          <a:prstGeom prst="rect">
            <a:avLst/>
          </a:prstGeom>
        </p:spPr>
        <p:txBody>
          <a:bodyPr/>
          <a:lstStyle/>
          <a:p>
            <a:fld id="{400E184B-189C-4115-A2C8-A7464BBD11D3}" type="slidenum">
              <a:rPr lang="nl-NL" smtClean="0"/>
              <a:t>‹#›</a:t>
            </a:fld>
            <a:endParaRPr lang="nl-NL"/>
          </a:p>
        </p:txBody>
      </p:sp>
    </p:spTree>
    <p:extLst>
      <p:ext uri="{BB962C8B-B14F-4D97-AF65-F5344CB8AC3E}">
        <p14:creationId xmlns:p14="http://schemas.microsoft.com/office/powerpoint/2010/main" val="3415240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591502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0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8199AF3C-BF3F-4F94-A3CD-FB3C7C97E46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968CBD64-C511-48CF-88AD-3434DA0F028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9" name="Slide Number Placeholder">
            <a:extLst>
              <a:ext uri="{FF2B5EF4-FFF2-40B4-BE49-F238E27FC236}">
                <a16:creationId xmlns:a16="http://schemas.microsoft.com/office/drawing/2014/main" id="{42748C13-A219-4660-B0E3-4561AD5EEE25}"/>
              </a:ext>
            </a:extLst>
          </p:cNvPr>
          <p:cNvSpPr>
            <a:spLocks noGrp="1"/>
          </p:cNvSpPr>
          <p:nvPr>
            <p:ph type="sldNum" sz="quarter" idx="12"/>
          </p:nvPr>
        </p:nvSpPr>
        <p:spPr>
          <a:xfrm>
            <a:off x="10989444" y="6684903"/>
            <a:ext cx="1023140" cy="163513"/>
          </a:xfrm>
          <a:prstGeom prst="rect">
            <a:avLst/>
          </a:prstGeom>
        </p:spPr>
        <p:txBody>
          <a:bodyPr/>
          <a:lstStyle/>
          <a:p>
            <a:fld id="{400E184B-189C-4115-A2C8-A7464BBD11D3}" type="slidenum">
              <a:rPr lang="nl-NL" smtClean="0"/>
              <a:t>‹#›</a:t>
            </a:fld>
            <a:endParaRPr lang="nl-NL"/>
          </a:p>
        </p:txBody>
      </p:sp>
    </p:spTree>
    <p:extLst>
      <p:ext uri="{BB962C8B-B14F-4D97-AF65-F5344CB8AC3E}">
        <p14:creationId xmlns:p14="http://schemas.microsoft.com/office/powerpoint/2010/main" val="17053789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2"/>
            </p:custDataLst>
            <p:extLst>
              <p:ext uri="{D42A27DB-BD31-4B8C-83A1-F6EECF244321}">
                <p14:modId xmlns:p14="http://schemas.microsoft.com/office/powerpoint/2010/main" val="1873165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EBCAAF10-43C2-42AC-8822-4B0A2D42A6A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54A57-B39A-4BA5-A8AA-39AB9D51FBD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9" name="Slide Number Placeholder">
            <a:extLst>
              <a:ext uri="{FF2B5EF4-FFF2-40B4-BE49-F238E27FC236}">
                <a16:creationId xmlns:a16="http://schemas.microsoft.com/office/drawing/2014/main" id="{ED2D3A2E-15BD-41F9-A054-33D4889B62DE}"/>
              </a:ext>
            </a:extLst>
          </p:cNvPr>
          <p:cNvSpPr>
            <a:spLocks noGrp="1"/>
          </p:cNvSpPr>
          <p:nvPr>
            <p:ph type="sldNum" sz="quarter" idx="12"/>
          </p:nvPr>
        </p:nvSpPr>
        <p:spPr>
          <a:xfrm>
            <a:off x="10989444" y="6684903"/>
            <a:ext cx="1023140" cy="163513"/>
          </a:xfrm>
          <a:prstGeom prst="rect">
            <a:avLst/>
          </a:prstGeom>
        </p:spPr>
        <p:txBody>
          <a:bodyPr/>
          <a:lstStyle/>
          <a:p>
            <a:fld id="{400E184B-189C-4115-A2C8-A7464BBD11D3}" type="slidenum">
              <a:rPr lang="nl-NL" smtClean="0"/>
              <a:t>‹#›</a:t>
            </a:fld>
            <a:endParaRPr lang="nl-NL"/>
          </a:p>
        </p:txBody>
      </p:sp>
    </p:spTree>
    <p:extLst>
      <p:ext uri="{BB962C8B-B14F-4D97-AF65-F5344CB8AC3E}">
        <p14:creationId xmlns:p14="http://schemas.microsoft.com/office/powerpoint/2010/main" val="33018423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2"/>
            </p:custDataLst>
            <p:extLst>
              <p:ext uri="{D42A27DB-BD31-4B8C-83A1-F6EECF244321}">
                <p14:modId xmlns:p14="http://schemas.microsoft.com/office/powerpoint/2010/main" val="1635512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5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a:noFill/>
          <a:ln w="19050">
            <a:noFill/>
          </a:ln>
        </p:spPr>
        <p:txBody>
          <a:bodyPr vert="horz" lIns="7200" tIns="0" rIns="0" bIns="0" rtlCol="0" anchor="t">
            <a:noAutofit/>
          </a:bodyPr>
          <a:lstStyle>
            <a:lvl1pPr>
              <a:defRPr lang="nl-NL" b="1" noProof="0" dirty="0">
                <a:solidFill>
                  <a:schemeClr val="tx1"/>
                </a:solidFill>
              </a:defRPr>
            </a:lvl1pPr>
          </a:lstStyle>
          <a:p>
            <a:pPr marL="0" lvl="0" indent="0">
              <a:buNone/>
            </a:pPr>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20D419EE-88F1-4989-8836-3F7287A8548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9" name="Footer Placeholder">
            <a:extLst>
              <a:ext uri="{FF2B5EF4-FFF2-40B4-BE49-F238E27FC236}">
                <a16:creationId xmlns:a16="http://schemas.microsoft.com/office/drawing/2014/main" id="{496692EB-3EF7-4005-BB14-C4E4AE8A68F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39" name="Slide Number Placeholder">
            <a:extLst>
              <a:ext uri="{FF2B5EF4-FFF2-40B4-BE49-F238E27FC236}">
                <a16:creationId xmlns:a16="http://schemas.microsoft.com/office/drawing/2014/main" id="{412FEEA4-3298-41B0-B0FC-060B542257E0}"/>
              </a:ext>
            </a:extLst>
          </p:cNvPr>
          <p:cNvSpPr>
            <a:spLocks noGrp="1"/>
          </p:cNvSpPr>
          <p:nvPr>
            <p:ph type="sldNum" sz="quarter" idx="12"/>
          </p:nvPr>
        </p:nvSpPr>
        <p:spPr>
          <a:xfrm>
            <a:off x="10989444" y="6684903"/>
            <a:ext cx="1023140" cy="163513"/>
          </a:xfrm>
          <a:prstGeom prst="rect">
            <a:avLst/>
          </a:prstGeom>
        </p:spPr>
        <p:txBody>
          <a:bodyPr/>
          <a:lstStyle/>
          <a:p>
            <a:fld id="{400E184B-189C-4115-A2C8-A7464BBD11D3}" type="slidenum">
              <a:rPr lang="nl-NL" smtClean="0"/>
              <a:t>‹#›</a:t>
            </a:fld>
            <a:endParaRPr lang="nl-NL"/>
          </a:p>
        </p:txBody>
      </p:sp>
    </p:spTree>
    <p:extLst>
      <p:ext uri="{BB962C8B-B14F-4D97-AF65-F5344CB8AC3E}">
        <p14:creationId xmlns:p14="http://schemas.microsoft.com/office/powerpoint/2010/main" val="13848909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2"/>
            </p:custDataLst>
            <p:extLst>
              <p:ext uri="{D42A27DB-BD31-4B8C-83A1-F6EECF244321}">
                <p14:modId xmlns:p14="http://schemas.microsoft.com/office/powerpoint/2010/main" val="2465782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7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60819" y="4487276"/>
            <a:ext cx="10866439" cy="195509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79" y="2059963"/>
            <a:ext cx="10866439" cy="195509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60819" y="4127276"/>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79" y="1699963"/>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400E184B-189C-4115-A2C8-A7464BBD11D3}" type="slidenum">
              <a:rPr lang="nl-NL" smtClean="0"/>
              <a:t>‹#›</a:t>
            </a:fld>
            <a:endParaRPr lang="nl-NL"/>
          </a:p>
        </p:txBody>
      </p:sp>
    </p:spTree>
    <p:extLst>
      <p:ext uri="{BB962C8B-B14F-4D97-AF65-F5344CB8AC3E}">
        <p14:creationId xmlns:p14="http://schemas.microsoft.com/office/powerpoint/2010/main" val="22321735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2"/>
            </p:custDataLst>
            <p:extLst>
              <p:ext uri="{D42A27DB-BD31-4B8C-83A1-F6EECF244321}">
                <p14:modId xmlns:p14="http://schemas.microsoft.com/office/powerpoint/2010/main" val="3664721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901CC59E-FC60-4C86-9DA5-AC4FAE7D62C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1EF4ABE-D938-4EF6-89F7-C7DD4C65A05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5" name="Slide Number Placeholder">
            <a:extLst>
              <a:ext uri="{FF2B5EF4-FFF2-40B4-BE49-F238E27FC236}">
                <a16:creationId xmlns:a16="http://schemas.microsoft.com/office/drawing/2014/main" id="{F558ECA9-B2A7-4D71-83E2-6BCC7C0B11A3}"/>
              </a:ext>
            </a:extLst>
          </p:cNvPr>
          <p:cNvSpPr>
            <a:spLocks noGrp="1"/>
          </p:cNvSpPr>
          <p:nvPr>
            <p:ph type="sldNum" sz="quarter" idx="12"/>
          </p:nvPr>
        </p:nvSpPr>
        <p:spPr>
          <a:xfrm>
            <a:off x="10989444" y="6684903"/>
            <a:ext cx="1023140" cy="163513"/>
          </a:xfrm>
          <a:prstGeom prst="rect">
            <a:avLst/>
          </a:prstGeom>
        </p:spPr>
        <p:txBody>
          <a:bodyPr/>
          <a:lstStyle/>
          <a:p>
            <a:fld id="{400E184B-189C-4115-A2C8-A7464BBD11D3}" type="slidenum">
              <a:rPr lang="nl-NL" smtClean="0"/>
              <a:t>‹#›</a:t>
            </a:fld>
            <a:endParaRPr lang="nl-NL"/>
          </a:p>
        </p:txBody>
      </p:sp>
    </p:spTree>
    <p:extLst>
      <p:ext uri="{BB962C8B-B14F-4D97-AF65-F5344CB8AC3E}">
        <p14:creationId xmlns:p14="http://schemas.microsoft.com/office/powerpoint/2010/main" val="16980483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1"/>
            </p:custDataLst>
            <p:extLst>
              <p:ext uri="{D42A27DB-BD31-4B8C-83A1-F6EECF244321}">
                <p14:modId xmlns:p14="http://schemas.microsoft.com/office/powerpoint/2010/main" val="286001930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86" name="think-cell Slide" r:id="rId43" imgW="470" imgH="469" progId="TCLayout.ActiveDocument.1">
                  <p:embed/>
                </p:oleObj>
              </mc:Choice>
              <mc:Fallback>
                <p:oleObj name="think-cell Slide" r:id="rId43" imgW="470" imgH="469" progId="TCLayout.ActiveDocument.1">
                  <p:embed/>
                  <p:pic>
                    <p:nvPicPr>
                      <p:cNvPr id="4" name="Object 3" hidden="1"/>
                      <p:cNvPicPr/>
                      <p:nvPr/>
                    </p:nvPicPr>
                    <p:blipFill>
                      <a:blip r:embed="rId44"/>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4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2455"/>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989437" y="6688612"/>
            <a:ext cx="1023140" cy="163513"/>
          </a:xfrm>
          <a:prstGeom prst="rect">
            <a:avLst/>
          </a:prstGeom>
        </p:spPr>
        <p:txBody>
          <a:bodyPr lIns="0" tIns="0" rIns="72000" bIns="0"/>
          <a:lstStyle>
            <a:lvl1pPr marL="0" indent="0" algn="r">
              <a:buNone/>
              <a:defRPr sz="1000">
                <a:latin typeface="+mj-lt"/>
              </a:defRPr>
            </a:lvl1pPr>
          </a:lstStyle>
          <a:p>
            <a:fld id="{400E184B-189C-4115-A2C8-A7464BBD11D3}" type="slidenum">
              <a:rPr lang="nl-NL" smtClean="0"/>
              <a:t>‹#›</a:t>
            </a:fld>
            <a:endParaRPr lang="nl-NL"/>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a:t>Klik om titel toe te voegen</a:t>
            </a:r>
          </a:p>
        </p:txBody>
      </p:sp>
      <p:sp>
        <p:nvSpPr>
          <p:cNvPr id="23" name="Footer Placeholder">
            <a:extLst>
              <a:ext uri="{FF2B5EF4-FFF2-40B4-BE49-F238E27FC236}">
                <a16:creationId xmlns:a16="http://schemas.microsoft.com/office/drawing/2014/main" id="{7D08E99E-5D00-4CC1-8F6F-091AC26BC389}"/>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Tree>
    <p:extLst>
      <p:ext uri="{BB962C8B-B14F-4D97-AF65-F5344CB8AC3E}">
        <p14:creationId xmlns:p14="http://schemas.microsoft.com/office/powerpoint/2010/main" val="27286744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Lst>
  <p:txStyles>
    <p:title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2.xml"/><Relationship Id="rId1" Type="http://schemas.openxmlformats.org/officeDocument/2006/relationships/vmlDrawing" Target="../drawings/vmlDrawing39.v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39.bin"/></Relationships>
</file>

<file path=ppt/slides/_rels/slide1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tags" Target="../tags/tag81.xml"/><Relationship Id="rId1" Type="http://schemas.openxmlformats.org/officeDocument/2006/relationships/vmlDrawing" Target="../drawings/vmlDrawing48.vml"/><Relationship Id="rId6" Type="http://schemas.openxmlformats.org/officeDocument/2006/relationships/image" Target="../media/image26.png"/><Relationship Id="rId5" Type="http://schemas.openxmlformats.org/officeDocument/2006/relationships/image" Target="../media/image23.emf"/><Relationship Id="rId4" Type="http://schemas.openxmlformats.org/officeDocument/2006/relationships/oleObject" Target="../embeddings/oleObject48.bin"/><Relationship Id="rId9" Type="http://schemas.openxmlformats.org/officeDocument/2006/relationships/image" Target="../media/image28.svg"/></Relationships>
</file>

<file path=ppt/slides/_rels/slide11.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82.xml"/><Relationship Id="rId1" Type="http://schemas.openxmlformats.org/officeDocument/2006/relationships/vmlDrawing" Target="../drawings/vmlDrawing49.vml"/><Relationship Id="rId6" Type="http://schemas.openxmlformats.org/officeDocument/2006/relationships/image" Target="../media/image29.png"/><Relationship Id="rId5" Type="http://schemas.openxmlformats.org/officeDocument/2006/relationships/image" Target="../media/image23.emf"/><Relationship Id="rId4" Type="http://schemas.openxmlformats.org/officeDocument/2006/relationships/oleObject" Target="../embeddings/oleObject49.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3.xml"/><Relationship Id="rId1" Type="http://schemas.openxmlformats.org/officeDocument/2006/relationships/vmlDrawing" Target="../drawings/vmlDrawing50.vml"/><Relationship Id="rId6" Type="http://schemas.openxmlformats.org/officeDocument/2006/relationships/image" Target="../media/image29.png"/><Relationship Id="rId5" Type="http://schemas.openxmlformats.org/officeDocument/2006/relationships/image" Target="../media/image23.emf"/><Relationship Id="rId4" Type="http://schemas.openxmlformats.org/officeDocument/2006/relationships/oleObject" Target="../embeddings/oleObject50.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4.xml"/><Relationship Id="rId1" Type="http://schemas.openxmlformats.org/officeDocument/2006/relationships/vmlDrawing" Target="../drawings/vmlDrawing51.vml"/><Relationship Id="rId6" Type="http://schemas.openxmlformats.org/officeDocument/2006/relationships/image" Target="../media/image29.png"/><Relationship Id="rId5" Type="http://schemas.openxmlformats.org/officeDocument/2006/relationships/image" Target="../media/image23.emf"/><Relationship Id="rId4" Type="http://schemas.openxmlformats.org/officeDocument/2006/relationships/oleObject" Target="../embeddings/oleObject51.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5.xml"/><Relationship Id="rId1" Type="http://schemas.openxmlformats.org/officeDocument/2006/relationships/vmlDrawing" Target="../drawings/vmlDrawing52.vml"/><Relationship Id="rId6" Type="http://schemas.openxmlformats.org/officeDocument/2006/relationships/image" Target="../media/image29.png"/><Relationship Id="rId5" Type="http://schemas.openxmlformats.org/officeDocument/2006/relationships/image" Target="../media/image23.emf"/><Relationship Id="rId4" Type="http://schemas.openxmlformats.org/officeDocument/2006/relationships/oleObject" Target="../embeddings/oleObject52.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xml"/><Relationship Id="rId1" Type="http://schemas.openxmlformats.org/officeDocument/2006/relationships/vmlDrawing" Target="../drawings/vmlDrawing53.vml"/><Relationship Id="rId6" Type="http://schemas.openxmlformats.org/officeDocument/2006/relationships/image" Target="../media/image29.png"/><Relationship Id="rId5" Type="http://schemas.openxmlformats.org/officeDocument/2006/relationships/image" Target="../media/image23.emf"/><Relationship Id="rId4" Type="http://schemas.openxmlformats.org/officeDocument/2006/relationships/oleObject" Target="../embeddings/oleObject53.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xml"/><Relationship Id="rId1" Type="http://schemas.openxmlformats.org/officeDocument/2006/relationships/vmlDrawing" Target="../drawings/vmlDrawing54.vml"/><Relationship Id="rId6" Type="http://schemas.openxmlformats.org/officeDocument/2006/relationships/image" Target="../media/image29.png"/><Relationship Id="rId5" Type="http://schemas.openxmlformats.org/officeDocument/2006/relationships/image" Target="../media/image23.emf"/><Relationship Id="rId4" Type="http://schemas.openxmlformats.org/officeDocument/2006/relationships/oleObject" Target="../embeddings/oleObject54.bin"/></Relationships>
</file>

<file path=ppt/slides/_rels/slide17.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88.xml"/><Relationship Id="rId1" Type="http://schemas.openxmlformats.org/officeDocument/2006/relationships/vmlDrawing" Target="../drawings/vmlDrawing55.vml"/><Relationship Id="rId6" Type="http://schemas.openxmlformats.org/officeDocument/2006/relationships/image" Target="../media/image29.png"/><Relationship Id="rId5" Type="http://schemas.openxmlformats.org/officeDocument/2006/relationships/image" Target="../media/image23.emf"/><Relationship Id="rId4" Type="http://schemas.openxmlformats.org/officeDocument/2006/relationships/oleObject" Target="../embeddings/oleObject55.bin"/></Relationships>
</file>

<file path=ppt/slides/_rels/slide18.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slideLayout" Target="../slideLayouts/slideLayout2.xml"/><Relationship Id="rId7" Type="http://schemas.openxmlformats.org/officeDocument/2006/relationships/image" Target="../media/image30.png"/><Relationship Id="rId2" Type="http://schemas.openxmlformats.org/officeDocument/2006/relationships/tags" Target="../tags/tag89.xml"/><Relationship Id="rId1" Type="http://schemas.openxmlformats.org/officeDocument/2006/relationships/vmlDrawing" Target="../drawings/vmlDrawing56.vml"/><Relationship Id="rId6" Type="http://schemas.openxmlformats.org/officeDocument/2006/relationships/image" Target="../media/image29.png"/><Relationship Id="rId5" Type="http://schemas.openxmlformats.org/officeDocument/2006/relationships/image" Target="../media/image23.emf"/><Relationship Id="rId10" Type="http://schemas.openxmlformats.org/officeDocument/2006/relationships/image" Target="../media/image32.svg"/><Relationship Id="rId4" Type="http://schemas.openxmlformats.org/officeDocument/2006/relationships/oleObject" Target="../embeddings/oleObject56.bin"/><Relationship Id="rId9" Type="http://schemas.openxmlformats.org/officeDocument/2006/relationships/image" Target="../media/image27.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xml"/><Relationship Id="rId1" Type="http://schemas.openxmlformats.org/officeDocument/2006/relationships/vmlDrawing" Target="../drawings/vmlDrawing57.vml"/><Relationship Id="rId6" Type="http://schemas.openxmlformats.org/officeDocument/2006/relationships/image" Target="../media/image29.png"/><Relationship Id="rId5" Type="http://schemas.openxmlformats.org/officeDocument/2006/relationships/image" Target="../media/image23.emf"/><Relationship Id="rId4" Type="http://schemas.openxmlformats.org/officeDocument/2006/relationships/oleObject" Target="../embeddings/oleObject57.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0.jpeg"/><Relationship Id="rId2" Type="http://schemas.openxmlformats.org/officeDocument/2006/relationships/tags" Target="../tags/tag73.xml"/><Relationship Id="rId1" Type="http://schemas.openxmlformats.org/officeDocument/2006/relationships/vmlDrawing" Target="../drawings/vmlDrawing40.vml"/><Relationship Id="rId6" Type="http://schemas.openxmlformats.org/officeDocument/2006/relationships/image" Target="../media/image9.jpeg"/><Relationship Id="rId5" Type="http://schemas.openxmlformats.org/officeDocument/2006/relationships/image" Target="../media/image7.emf"/><Relationship Id="rId4" Type="http://schemas.openxmlformats.org/officeDocument/2006/relationships/oleObject" Target="../embeddings/oleObject40.bin"/></Relationships>
</file>

<file path=ppt/slides/_rels/slide20.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91.xml"/><Relationship Id="rId1" Type="http://schemas.openxmlformats.org/officeDocument/2006/relationships/vmlDrawing" Target="../drawings/vmlDrawing58.vml"/><Relationship Id="rId6" Type="http://schemas.openxmlformats.org/officeDocument/2006/relationships/image" Target="../media/image29.png"/><Relationship Id="rId5" Type="http://schemas.openxmlformats.org/officeDocument/2006/relationships/image" Target="../media/image23.emf"/><Relationship Id="rId4" Type="http://schemas.openxmlformats.org/officeDocument/2006/relationships/oleObject" Target="../embeddings/oleObject58.bin"/></Relationships>
</file>

<file path=ppt/slides/_rels/slide21.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slideLayout" Target="../slideLayouts/slideLayout2.xml"/><Relationship Id="rId7" Type="http://schemas.openxmlformats.org/officeDocument/2006/relationships/image" Target="../media/image30.png"/><Relationship Id="rId2" Type="http://schemas.openxmlformats.org/officeDocument/2006/relationships/tags" Target="../tags/tag92.xml"/><Relationship Id="rId1" Type="http://schemas.openxmlformats.org/officeDocument/2006/relationships/vmlDrawing" Target="../drawings/vmlDrawing59.vml"/><Relationship Id="rId6" Type="http://schemas.openxmlformats.org/officeDocument/2006/relationships/image" Target="../media/image29.png"/><Relationship Id="rId5" Type="http://schemas.openxmlformats.org/officeDocument/2006/relationships/image" Target="../media/image23.emf"/><Relationship Id="rId10" Type="http://schemas.openxmlformats.org/officeDocument/2006/relationships/image" Target="../media/image28.svg"/><Relationship Id="rId4" Type="http://schemas.openxmlformats.org/officeDocument/2006/relationships/oleObject" Target="../embeddings/oleObject59.bin"/><Relationship Id="rId9" Type="http://schemas.openxmlformats.org/officeDocument/2006/relationships/image" Target="../media/image27.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9.png"/><Relationship Id="rId2" Type="http://schemas.openxmlformats.org/officeDocument/2006/relationships/tags" Target="../tags/tag93.xml"/><Relationship Id="rId1" Type="http://schemas.openxmlformats.org/officeDocument/2006/relationships/vmlDrawing" Target="../drawings/vmlDrawing60.vml"/><Relationship Id="rId6" Type="http://schemas.openxmlformats.org/officeDocument/2006/relationships/hyperlink" Target="https://en.wikipedia.org/wiki/Sanity_check" TargetMode="External"/><Relationship Id="rId5" Type="http://schemas.openxmlformats.org/officeDocument/2006/relationships/image" Target="../media/image23.emf"/><Relationship Id="rId4" Type="http://schemas.openxmlformats.org/officeDocument/2006/relationships/oleObject" Target="../embeddings/oleObject60.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9.png"/><Relationship Id="rId2" Type="http://schemas.openxmlformats.org/officeDocument/2006/relationships/tags" Target="../tags/tag94.xml"/><Relationship Id="rId1" Type="http://schemas.openxmlformats.org/officeDocument/2006/relationships/vmlDrawing" Target="../drawings/vmlDrawing61.vml"/><Relationship Id="rId6" Type="http://schemas.openxmlformats.org/officeDocument/2006/relationships/image" Target="../media/image23.emf"/><Relationship Id="rId5" Type="http://schemas.openxmlformats.org/officeDocument/2006/relationships/oleObject" Target="../embeddings/oleObject61.bin"/><Relationship Id="rId4" Type="http://schemas.openxmlformats.org/officeDocument/2006/relationships/notesSlide" Target="../notesSlides/notesSlide2.xml"/></Relationships>
</file>

<file path=ppt/slides/_rels/slide24.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2.xml"/><Relationship Id="rId7" Type="http://schemas.openxmlformats.org/officeDocument/2006/relationships/chart" Target="../charts/chart1.xml"/><Relationship Id="rId2" Type="http://schemas.openxmlformats.org/officeDocument/2006/relationships/tags" Target="../tags/tag95.xml"/><Relationship Id="rId1" Type="http://schemas.openxmlformats.org/officeDocument/2006/relationships/vmlDrawing" Target="../drawings/vmlDrawing62.vml"/><Relationship Id="rId6" Type="http://schemas.openxmlformats.org/officeDocument/2006/relationships/image" Target="../media/image29.png"/><Relationship Id="rId5" Type="http://schemas.openxmlformats.org/officeDocument/2006/relationships/image" Target="../media/image23.emf"/><Relationship Id="rId4" Type="http://schemas.openxmlformats.org/officeDocument/2006/relationships/oleObject" Target="../embeddings/oleObject62.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6.xml"/><Relationship Id="rId1" Type="http://schemas.openxmlformats.org/officeDocument/2006/relationships/vmlDrawing" Target="../drawings/vmlDrawing63.vml"/><Relationship Id="rId6" Type="http://schemas.openxmlformats.org/officeDocument/2006/relationships/image" Target="../media/image29.png"/><Relationship Id="rId5" Type="http://schemas.openxmlformats.org/officeDocument/2006/relationships/image" Target="../media/image23.emf"/><Relationship Id="rId4" Type="http://schemas.openxmlformats.org/officeDocument/2006/relationships/oleObject" Target="../embeddings/oleObject63.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7.xml"/><Relationship Id="rId1" Type="http://schemas.openxmlformats.org/officeDocument/2006/relationships/vmlDrawing" Target="../drawings/vmlDrawing64.vml"/><Relationship Id="rId6" Type="http://schemas.openxmlformats.org/officeDocument/2006/relationships/image" Target="../media/image29.png"/><Relationship Id="rId5" Type="http://schemas.openxmlformats.org/officeDocument/2006/relationships/image" Target="../media/image23.emf"/><Relationship Id="rId4" Type="http://schemas.openxmlformats.org/officeDocument/2006/relationships/oleObject" Target="../embeddings/oleObject64.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8.xml"/><Relationship Id="rId1" Type="http://schemas.openxmlformats.org/officeDocument/2006/relationships/vmlDrawing" Target="../drawings/vmlDrawing65.vml"/><Relationship Id="rId6" Type="http://schemas.openxmlformats.org/officeDocument/2006/relationships/image" Target="../media/image29.png"/><Relationship Id="rId5" Type="http://schemas.openxmlformats.org/officeDocument/2006/relationships/image" Target="../media/image23.emf"/><Relationship Id="rId4" Type="http://schemas.openxmlformats.org/officeDocument/2006/relationships/oleObject" Target="../embeddings/oleObject65.bin"/></Relationships>
</file>

<file path=ppt/slides/_rels/slide28.xml.rels><?xml version="1.0" encoding="UTF-8" standalone="yes"?>
<Relationships xmlns="http://schemas.openxmlformats.org/package/2006/relationships"><Relationship Id="rId3" Type="http://schemas.openxmlformats.org/officeDocument/2006/relationships/image" Target="../media/image34.svg"/><Relationship Id="rId7"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svg"/><Relationship Id="rId4" Type="http://schemas.openxmlformats.org/officeDocument/2006/relationships/image" Target="../media/image35.png"/></Relationships>
</file>

<file path=ppt/slides/_rels/slide29.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2.xml"/><Relationship Id="rId7" Type="http://schemas.openxmlformats.org/officeDocument/2006/relationships/image" Target="../media/image40.svg"/><Relationship Id="rId2" Type="http://schemas.openxmlformats.org/officeDocument/2006/relationships/tags" Target="../tags/tag99.xml"/><Relationship Id="rId1" Type="http://schemas.openxmlformats.org/officeDocument/2006/relationships/vmlDrawing" Target="../drawings/vmlDrawing66.vml"/><Relationship Id="rId6" Type="http://schemas.openxmlformats.org/officeDocument/2006/relationships/image" Target="../media/image39.png"/><Relationship Id="rId11" Type="http://schemas.openxmlformats.org/officeDocument/2006/relationships/image" Target="../media/image17.svg"/><Relationship Id="rId5" Type="http://schemas.openxmlformats.org/officeDocument/2006/relationships/image" Target="../media/image7.emf"/><Relationship Id="rId10" Type="http://schemas.openxmlformats.org/officeDocument/2006/relationships/image" Target="../media/image16.png"/><Relationship Id="rId4" Type="http://schemas.openxmlformats.org/officeDocument/2006/relationships/oleObject" Target="../embeddings/oleObject66.bin"/><Relationship Id="rId9" Type="http://schemas.openxmlformats.org/officeDocument/2006/relationships/image" Target="../media/image42.sv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74.xml"/><Relationship Id="rId1" Type="http://schemas.openxmlformats.org/officeDocument/2006/relationships/vmlDrawing" Target="../drawings/vmlDrawing41.vml"/><Relationship Id="rId6" Type="http://schemas.openxmlformats.org/officeDocument/2006/relationships/image" Target="../media/image7.emf"/><Relationship Id="rId5" Type="http://schemas.openxmlformats.org/officeDocument/2006/relationships/oleObject" Target="../embeddings/oleObject41.bin"/><Relationship Id="rId4"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13.jpeg"/><Relationship Id="rId2" Type="http://schemas.openxmlformats.org/officeDocument/2006/relationships/tags" Target="../tags/tag75.xml"/><Relationship Id="rId1" Type="http://schemas.openxmlformats.org/officeDocument/2006/relationships/vmlDrawing" Target="../drawings/vmlDrawing42.vml"/><Relationship Id="rId6" Type="http://schemas.openxmlformats.org/officeDocument/2006/relationships/image" Target="../media/image12.jpeg"/><Relationship Id="rId5" Type="http://schemas.openxmlformats.org/officeDocument/2006/relationships/image" Target="../media/image11.emf"/><Relationship Id="rId4" Type="http://schemas.openxmlformats.org/officeDocument/2006/relationships/oleObject" Target="../embeddings/oleObject42.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6.xml"/><Relationship Id="rId1" Type="http://schemas.openxmlformats.org/officeDocument/2006/relationships/vmlDrawing" Target="../drawings/vmlDrawing43.vml"/><Relationship Id="rId5" Type="http://schemas.openxmlformats.org/officeDocument/2006/relationships/image" Target="../media/image7.emf"/><Relationship Id="rId4" Type="http://schemas.openxmlformats.org/officeDocument/2006/relationships/oleObject" Target="../embeddings/oleObject43.bin"/></Relationships>
</file>

<file path=ppt/slides/_rels/slide6.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slideLayout" Target="../slideLayouts/slideLayout4.xml"/><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tags" Target="../tags/tag77.xml"/><Relationship Id="rId1" Type="http://schemas.openxmlformats.org/officeDocument/2006/relationships/vmlDrawing" Target="../drawings/vmlDrawing44.vml"/><Relationship Id="rId6" Type="http://schemas.openxmlformats.org/officeDocument/2006/relationships/hyperlink" Target="https://en.wikipedia.org/wiki/Sanity_check" TargetMode="External"/><Relationship Id="rId11" Type="http://schemas.openxmlformats.org/officeDocument/2006/relationships/image" Target="../media/image18.png"/><Relationship Id="rId5" Type="http://schemas.openxmlformats.org/officeDocument/2006/relationships/image" Target="../media/image7.emf"/><Relationship Id="rId10" Type="http://schemas.openxmlformats.org/officeDocument/2006/relationships/image" Target="../media/image17.svg"/><Relationship Id="rId4" Type="http://schemas.openxmlformats.org/officeDocument/2006/relationships/oleObject" Target="../embeddings/oleObject44.bin"/><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hyperlink" Target="https://gupta-strategists.nl/storage/files/Oefencase-Gupta-Strategists.pdf" TargetMode="External"/><Relationship Id="rId13" Type="http://schemas.openxmlformats.org/officeDocument/2006/relationships/image" Target="../media/image20.png"/><Relationship Id="rId3" Type="http://schemas.openxmlformats.org/officeDocument/2006/relationships/slideLayout" Target="../slideLayouts/slideLayout2.xml"/><Relationship Id="rId7" Type="http://schemas.openxmlformats.org/officeDocument/2006/relationships/hyperlink" Target="https://www.craftingcases.com/" TargetMode="External"/><Relationship Id="rId12" Type="http://schemas.openxmlformats.org/officeDocument/2006/relationships/hyperlink" Target="https://igotanoffer.com/blogs/mckinsey-case-interview-blog/case-interview-examples#mckinsey" TargetMode="External"/><Relationship Id="rId2" Type="http://schemas.openxmlformats.org/officeDocument/2006/relationships/tags" Target="../tags/tag78.xml"/><Relationship Id="rId1" Type="http://schemas.openxmlformats.org/officeDocument/2006/relationships/vmlDrawing" Target="../drawings/vmlDrawing45.vml"/><Relationship Id="rId6" Type="http://schemas.openxmlformats.org/officeDocument/2006/relationships/hyperlink" Target="https://www.caseinterview.com/ci-prep" TargetMode="External"/><Relationship Id="rId11" Type="http://schemas.openxmlformats.org/officeDocument/2006/relationships/hyperlink" Target="https://www.bain.com/careers/interview-prep/case-library/fashioco-case-study/" TargetMode="External"/><Relationship Id="rId5" Type="http://schemas.openxmlformats.org/officeDocument/2006/relationships/image" Target="../media/image7.emf"/><Relationship Id="rId15" Type="http://schemas.openxmlformats.org/officeDocument/2006/relationships/image" Target="../media/image22.png"/><Relationship Id="rId10" Type="http://schemas.openxmlformats.org/officeDocument/2006/relationships/hyperlink" Target="https://www.mckinsey.com/careers/interviewing/diconsa" TargetMode="External"/><Relationship Id="rId4" Type="http://schemas.openxmlformats.org/officeDocument/2006/relationships/oleObject" Target="../embeddings/oleObject45.bin"/><Relationship Id="rId9" Type="http://schemas.openxmlformats.org/officeDocument/2006/relationships/hyperlink" Target="https://careers.bcg.com/case-prep" TargetMode="External"/><Relationship Id="rId1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13.jpeg"/><Relationship Id="rId2" Type="http://schemas.openxmlformats.org/officeDocument/2006/relationships/tags" Target="../tags/tag79.xml"/><Relationship Id="rId1" Type="http://schemas.openxmlformats.org/officeDocument/2006/relationships/vmlDrawing" Target="../drawings/vmlDrawing46.vml"/><Relationship Id="rId6" Type="http://schemas.openxmlformats.org/officeDocument/2006/relationships/image" Target="../media/image12.jpeg"/><Relationship Id="rId5" Type="http://schemas.openxmlformats.org/officeDocument/2006/relationships/image" Target="../media/image11.emf"/><Relationship Id="rId4" Type="http://schemas.openxmlformats.org/officeDocument/2006/relationships/oleObject" Target="../embeddings/oleObject46.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5.svg"/><Relationship Id="rId2" Type="http://schemas.openxmlformats.org/officeDocument/2006/relationships/tags" Target="../tags/tag80.xml"/><Relationship Id="rId1" Type="http://schemas.openxmlformats.org/officeDocument/2006/relationships/vmlDrawing" Target="../drawings/vmlDrawing47.v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4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EDA2532-79F4-46AB-9061-31D5F84B7E82}"/>
              </a:ext>
            </a:extLst>
          </p:cNvPr>
          <p:cNvGraphicFramePr>
            <a:graphicFrameLocks noChangeAspect="1"/>
          </p:cNvGraphicFramePr>
          <p:nvPr>
            <p:custDataLst>
              <p:tags r:id="rId2"/>
            </p:custDataLst>
            <p:extLst>
              <p:ext uri="{D42A27DB-BD31-4B8C-83A1-F6EECF244321}">
                <p14:modId xmlns:p14="http://schemas.microsoft.com/office/powerpoint/2010/main" val="662688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98"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84DDE90B-964C-4EC5-A879-E34F91228BE1}"/>
              </a:ext>
            </a:extLst>
          </p:cNvPr>
          <p:cNvSpPr/>
          <p:nvPr/>
        </p:nvSpPr>
        <p:spPr>
          <a:xfrm>
            <a:off x="9852000" y="180000"/>
            <a:ext cx="2160000" cy="1440000"/>
          </a:xfrm>
          <a:prstGeom prst="rect">
            <a:avLst/>
          </a:prstGeom>
          <a:solidFill>
            <a:srgbClr val="FFFF00"/>
          </a:solidFill>
          <a:ln w="4266" cap="flat">
            <a:noFill/>
            <a:prstDash val="solid"/>
            <a:miter/>
          </a:ln>
        </p:spPr>
        <p:txBody>
          <a:bodyPr vert="horz" lIns="72000" tIns="72000" rIns="72000" bIns="72000" rtlCol="0" anchor="ctr">
            <a:noAutofit/>
          </a:bodyPr>
          <a:lstStyle/>
          <a:p>
            <a:pPr algn="ctr"/>
            <a:r>
              <a:rPr lang="nl-NL" dirty="0"/>
              <a:t>Plaatje toevoegen?</a:t>
            </a:r>
          </a:p>
        </p:txBody>
      </p:sp>
      <p:pic>
        <p:nvPicPr>
          <p:cNvPr id="12" name="Picture 11">
            <a:extLst>
              <a:ext uri="{FF2B5EF4-FFF2-40B4-BE49-F238E27FC236}">
                <a16:creationId xmlns:a16="http://schemas.microsoft.com/office/drawing/2014/main" id="{19851194-50F8-4B3C-B825-EEB3F4F78A74}"/>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5250426" y="-1"/>
            <a:ext cx="6941574" cy="6858002"/>
          </a:xfrm>
          <a:prstGeom prst="rect">
            <a:avLst/>
          </a:prstGeom>
        </p:spPr>
      </p:pic>
      <p:sp>
        <p:nvSpPr>
          <p:cNvPr id="13" name="Rectangle 12">
            <a:extLst>
              <a:ext uri="{FF2B5EF4-FFF2-40B4-BE49-F238E27FC236}">
                <a16:creationId xmlns:a16="http://schemas.microsoft.com/office/drawing/2014/main" id="{BBCB6B5B-5B7F-43AC-933A-B846BDBB67FB}"/>
              </a:ext>
            </a:extLst>
          </p:cNvPr>
          <p:cNvSpPr/>
          <p:nvPr/>
        </p:nvSpPr>
        <p:spPr>
          <a:xfrm>
            <a:off x="2451076" y="-1"/>
            <a:ext cx="9740924" cy="6857999"/>
          </a:xfrm>
          <a:prstGeom prst="rect">
            <a:avLst/>
          </a:prstGeom>
          <a:gradFill flip="none" rotWithShape="1">
            <a:gsLst>
              <a:gs pos="0">
                <a:schemeClr val="tx2"/>
              </a:gs>
              <a:gs pos="34000">
                <a:schemeClr val="tx2"/>
              </a:gs>
              <a:gs pos="100000">
                <a:schemeClr val="accent1">
                  <a:alpha val="6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000" marR="0" lvl="0" indent="-180000" algn="ctr" defTabSz="685800" rtl="0" eaLnBrk="1" fontAlgn="auto" latinLnBrk="0" hangingPunct="1">
              <a:lnSpc>
                <a:spcPct val="90000"/>
              </a:lnSpc>
              <a:spcBef>
                <a:spcPts val="375"/>
              </a:spcBef>
              <a:spcAft>
                <a:spcPts val="0"/>
              </a:spcAft>
              <a:buClr>
                <a:srgbClr val="FF0000"/>
              </a:buClr>
              <a:buSzTx/>
              <a:buFont typeface="Wingdings" panose="05000000000000000000" pitchFamily="2" charset="2"/>
              <a:buChar char="§"/>
              <a:tabLst/>
              <a:defRPr/>
            </a:pPr>
            <a:endParaRPr kumimoji="0" lang="nl-NL" sz="16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 name="Title 2">
            <a:extLst>
              <a:ext uri="{FF2B5EF4-FFF2-40B4-BE49-F238E27FC236}">
                <a16:creationId xmlns:a16="http://schemas.microsoft.com/office/drawing/2014/main" id="{ACFC7154-4C0A-4C90-8F45-AEBA29A8347E}"/>
              </a:ext>
            </a:extLst>
          </p:cNvPr>
          <p:cNvSpPr>
            <a:spLocks noGrp="1"/>
          </p:cNvSpPr>
          <p:nvPr>
            <p:ph type="ctrTitle"/>
          </p:nvPr>
        </p:nvSpPr>
        <p:spPr>
          <a:xfrm>
            <a:off x="989445" y="2033270"/>
            <a:ext cx="5605319" cy="1835150"/>
          </a:xfrm>
        </p:spPr>
        <p:txBody>
          <a:bodyPr vert="horz"/>
          <a:lstStyle/>
          <a:p>
            <a:r>
              <a:rPr lang="nl-NL" dirty="0"/>
              <a:t>Case interview bij It’s Public</a:t>
            </a:r>
            <a:br>
              <a:rPr lang="nl-NL" dirty="0"/>
            </a:br>
            <a:br>
              <a:rPr lang="nl-NL" dirty="0"/>
            </a:br>
            <a:r>
              <a:rPr lang="nl-NL" sz="3200" b="0" dirty="0"/>
              <a:t>uitleg en oefencase</a:t>
            </a:r>
            <a:endParaRPr lang="nl-NL" b="0" dirty="0"/>
          </a:p>
        </p:txBody>
      </p:sp>
    </p:spTree>
    <p:extLst>
      <p:ext uri="{BB962C8B-B14F-4D97-AF65-F5344CB8AC3E}">
        <p14:creationId xmlns:p14="http://schemas.microsoft.com/office/powerpoint/2010/main" val="7053559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ABE98B0-3C8A-43C8-8200-5975A1E67A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49"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CABE98B0-3C8A-43C8-8200-5975A1E67A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B7005C69-C8D5-4CD2-A222-DB83596ED306}"/>
              </a:ext>
            </a:extLst>
          </p:cNvPr>
          <p:cNvSpPr>
            <a:spLocks noGrp="1"/>
          </p:cNvSpPr>
          <p:nvPr>
            <p:ph type="ftr" sz="quarter" idx="3"/>
          </p:nvPr>
        </p:nvSpPr>
        <p:spPr/>
        <p:txBody>
          <a:bodyPr/>
          <a:lstStyle/>
          <a:p>
            <a:r>
              <a:rPr lang="nl-NL" noProof="0"/>
              <a:t>Bron: </a:t>
            </a:r>
          </a:p>
        </p:txBody>
      </p:sp>
      <p:pic>
        <p:nvPicPr>
          <p:cNvPr id="61442" name="Picture 2">
            <a:extLst>
              <a:ext uri="{FF2B5EF4-FFF2-40B4-BE49-F238E27FC236}">
                <a16:creationId xmlns:a16="http://schemas.microsoft.com/office/drawing/2014/main" id="{F31421FC-687C-4775-BBCA-9AC90E0C78E6}"/>
              </a:ext>
            </a:extLst>
          </p:cNvPr>
          <p:cNvPicPr>
            <a:picLocks noChangeAspect="1" noChangeArrowheads="1"/>
          </p:cNvPicPr>
          <p:nvPr/>
        </p:nvPicPr>
        <p:blipFill>
          <a:blip r:embed="rId6" cstate="hq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D85439E5-6E0C-4BFB-9E2A-FA280E638BDE}"/>
              </a:ext>
            </a:extLst>
          </p:cNvPr>
          <p:cNvSpPr/>
          <p:nvPr/>
        </p:nvSpPr>
        <p:spPr>
          <a:xfrm>
            <a:off x="0" y="0"/>
            <a:ext cx="12192295" cy="6858001"/>
          </a:xfrm>
          <a:prstGeom prst="rect">
            <a:avLst/>
          </a:prstGeom>
          <a:solidFill>
            <a:schemeClr val="bg1">
              <a:lumMod val="95000"/>
              <a:alpha val="88000"/>
            </a:schemeClr>
          </a:solidFill>
          <a:ln>
            <a:noFill/>
          </a:ln>
        </p:spPr>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0" indent="0">
              <a:lnSpc>
                <a:spcPct val="100000"/>
              </a:lnSpc>
              <a:buNone/>
            </a:pPr>
            <a:r>
              <a:rPr lang="nl-NL" sz="4400" b="1" dirty="0">
                <a:solidFill>
                  <a:schemeClr val="tx2"/>
                </a:solidFill>
              </a:rPr>
              <a:t>Vraag 1</a:t>
            </a:r>
          </a:p>
          <a:p>
            <a:pPr marL="0" indent="0">
              <a:lnSpc>
                <a:spcPct val="100000"/>
              </a:lnSpc>
              <a:buNone/>
            </a:pPr>
            <a:br>
              <a:rPr lang="nl-NL" sz="2400" dirty="0">
                <a:solidFill>
                  <a:schemeClr val="tx1"/>
                </a:solidFill>
              </a:rPr>
            </a:br>
            <a:r>
              <a:rPr lang="nl-NL" sz="2400" dirty="0">
                <a:solidFill>
                  <a:schemeClr val="tx1"/>
                </a:solidFill>
              </a:rPr>
              <a:t>Na afloop van een meeting op het stadhuis sprak ik nog kort met de wethouder onderwijs van gemeente Amsterdam. Ze gaf aan dat het lerarentekort in Amsterdam steeds nijpender wordt; van alle kanten komen signalen dat basisscholen problemen hebben met het vinden van leerkrachten. Toch is het probleem nog steeds onduidelijk, en ook is het onbekend waarom het probleem nu zo anders is dan in overige gemeenten. Ze vraagt ons om eens kort een blik te werpen op het lerarentekort en na te denken over wat ze mogelijk kan doen om het tekort te adresseren.</a:t>
            </a:r>
          </a:p>
          <a:p>
            <a:pPr>
              <a:lnSpc>
                <a:spcPct val="100000"/>
              </a:lnSpc>
            </a:pPr>
            <a:endParaRPr lang="nl-NL" sz="2400" dirty="0">
              <a:solidFill>
                <a:schemeClr val="tx1"/>
              </a:solidFill>
            </a:endParaRPr>
          </a:p>
          <a:p>
            <a:pPr marL="0" indent="0">
              <a:lnSpc>
                <a:spcPct val="100000"/>
              </a:lnSpc>
              <a:buNone/>
            </a:pPr>
            <a:r>
              <a:rPr lang="nl-NL" sz="2400" dirty="0">
                <a:solidFill>
                  <a:schemeClr val="tx1"/>
                </a:solidFill>
              </a:rPr>
              <a:t>Met welke structuur zouden we het probleem kunnen onderzoeken zodat we daarna met onze eerste hypotheses terug kunnen komen bij de wethouder. Hoe begin je?</a:t>
            </a:r>
          </a:p>
          <a:p>
            <a:pPr algn="ctr">
              <a:lnSpc>
                <a:spcPct val="100000"/>
              </a:lnSpc>
              <a:buClr>
                <a:schemeClr val="tx2"/>
              </a:buClr>
            </a:pPr>
            <a:endParaRPr kumimoji="0" lang="nl-NL" sz="2400" i="0" u="none" strike="noStrike" kern="1200" cap="none" spc="0" normalizeH="0" baseline="0" noProof="0" dirty="0">
              <a:ln>
                <a:noFill/>
              </a:ln>
              <a:solidFill>
                <a:schemeClr val="tx1"/>
              </a:solidFill>
              <a:effectLst/>
              <a:uLnTx/>
              <a:uFillTx/>
              <a:latin typeface="Corbel" panose="020B0503020204020204" pitchFamily="34" charset="0"/>
              <a:ea typeface="+mn-ea"/>
              <a:cs typeface="+mn-cs"/>
            </a:endParaRPr>
          </a:p>
        </p:txBody>
      </p:sp>
      <p:grpSp>
        <p:nvGrpSpPr>
          <p:cNvPr id="21" name="Group 20">
            <a:extLst>
              <a:ext uri="{FF2B5EF4-FFF2-40B4-BE49-F238E27FC236}">
                <a16:creationId xmlns:a16="http://schemas.microsoft.com/office/drawing/2014/main" id="{C5578B65-C922-42B5-B58E-017E05320628}"/>
              </a:ext>
            </a:extLst>
          </p:cNvPr>
          <p:cNvGrpSpPr/>
          <p:nvPr/>
        </p:nvGrpSpPr>
        <p:grpSpPr>
          <a:xfrm>
            <a:off x="2192835" y="237963"/>
            <a:ext cx="736493" cy="508712"/>
            <a:chOff x="2836863" y="3201988"/>
            <a:chExt cx="2001837" cy="1382712"/>
          </a:xfrm>
          <a:solidFill>
            <a:schemeClr val="tx2"/>
          </a:solidFill>
        </p:grpSpPr>
        <p:sp>
          <p:nvSpPr>
            <p:cNvPr id="22" name="Freeform 1">
              <a:extLst>
                <a:ext uri="{FF2B5EF4-FFF2-40B4-BE49-F238E27FC236}">
                  <a16:creationId xmlns:a16="http://schemas.microsoft.com/office/drawing/2014/main" id="{3B7896AF-670D-49F2-865F-D697DA861715}"/>
                </a:ext>
              </a:extLst>
            </p:cNvPr>
            <p:cNvSpPr>
              <a:spLocks noChangeArrowheads="1"/>
            </p:cNvSpPr>
            <p:nvPr/>
          </p:nvSpPr>
          <p:spPr bwMode="auto">
            <a:xfrm>
              <a:off x="2870200" y="3246438"/>
              <a:ext cx="1450975" cy="1247775"/>
            </a:xfrm>
            <a:custGeom>
              <a:avLst/>
              <a:gdLst>
                <a:gd name="T0" fmla="*/ 3625 w 4032"/>
                <a:gd name="T1" fmla="*/ 593 h 3468"/>
                <a:gd name="T2" fmla="*/ 3625 w 4032"/>
                <a:gd name="T3" fmla="*/ 593 h 3468"/>
                <a:gd name="T4" fmla="*/ 2000 w 4032"/>
                <a:gd name="T5" fmla="*/ 0 h 3468"/>
                <a:gd name="T6" fmla="*/ 593 w 4032"/>
                <a:gd name="T7" fmla="*/ 468 h 3468"/>
                <a:gd name="T8" fmla="*/ 593 w 4032"/>
                <a:gd name="T9" fmla="*/ 468 h 3468"/>
                <a:gd name="T10" fmla="*/ 31 w 4032"/>
                <a:gd name="T11" fmla="*/ 1531 h 3468"/>
                <a:gd name="T12" fmla="*/ 593 w 4032"/>
                <a:gd name="T13" fmla="*/ 2592 h 3468"/>
                <a:gd name="T14" fmla="*/ 500 w 4032"/>
                <a:gd name="T15" fmla="*/ 3374 h 3468"/>
                <a:gd name="T16" fmla="*/ 406 w 4032"/>
                <a:gd name="T17" fmla="*/ 3467 h 3468"/>
                <a:gd name="T18" fmla="*/ 531 w 4032"/>
                <a:gd name="T19" fmla="*/ 3467 h 3468"/>
                <a:gd name="T20" fmla="*/ 1343 w 4032"/>
                <a:gd name="T21" fmla="*/ 2967 h 3468"/>
                <a:gd name="T22" fmla="*/ 2093 w 4032"/>
                <a:gd name="T23" fmla="*/ 3030 h 3468"/>
                <a:gd name="T24" fmla="*/ 3531 w 4032"/>
                <a:gd name="T25" fmla="*/ 2592 h 3468"/>
                <a:gd name="T26" fmla="*/ 4031 w 4032"/>
                <a:gd name="T27" fmla="*/ 1531 h 3468"/>
                <a:gd name="T28" fmla="*/ 3625 w 4032"/>
                <a:gd name="T29" fmla="*/ 593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2" h="3468">
                  <a:moveTo>
                    <a:pt x="3625" y="593"/>
                  </a:moveTo>
                  <a:lnTo>
                    <a:pt x="3625" y="593"/>
                  </a:lnTo>
                  <a:cubicBezTo>
                    <a:pt x="3250" y="218"/>
                    <a:pt x="2625" y="0"/>
                    <a:pt x="2000" y="0"/>
                  </a:cubicBezTo>
                  <a:cubicBezTo>
                    <a:pt x="1468" y="0"/>
                    <a:pt x="1000" y="156"/>
                    <a:pt x="593" y="468"/>
                  </a:cubicBezTo>
                  <a:lnTo>
                    <a:pt x="593" y="468"/>
                  </a:lnTo>
                  <a:cubicBezTo>
                    <a:pt x="218" y="781"/>
                    <a:pt x="0" y="1156"/>
                    <a:pt x="31" y="1531"/>
                  </a:cubicBezTo>
                  <a:cubicBezTo>
                    <a:pt x="62" y="2217"/>
                    <a:pt x="500" y="2530"/>
                    <a:pt x="593" y="2592"/>
                  </a:cubicBezTo>
                  <a:cubicBezTo>
                    <a:pt x="625" y="2717"/>
                    <a:pt x="687" y="3092"/>
                    <a:pt x="500" y="3374"/>
                  </a:cubicBezTo>
                  <a:cubicBezTo>
                    <a:pt x="406" y="3467"/>
                    <a:pt x="406" y="3467"/>
                    <a:pt x="406" y="3467"/>
                  </a:cubicBezTo>
                  <a:cubicBezTo>
                    <a:pt x="531" y="3467"/>
                    <a:pt x="531" y="3467"/>
                    <a:pt x="531" y="3467"/>
                  </a:cubicBezTo>
                  <a:cubicBezTo>
                    <a:pt x="1000" y="3436"/>
                    <a:pt x="1281" y="3092"/>
                    <a:pt x="1343" y="2967"/>
                  </a:cubicBezTo>
                  <a:cubicBezTo>
                    <a:pt x="1437" y="2999"/>
                    <a:pt x="1718" y="3061"/>
                    <a:pt x="2093" y="3030"/>
                  </a:cubicBezTo>
                  <a:cubicBezTo>
                    <a:pt x="2656" y="3030"/>
                    <a:pt x="3156" y="2874"/>
                    <a:pt x="3531" y="2592"/>
                  </a:cubicBezTo>
                  <a:cubicBezTo>
                    <a:pt x="3843" y="2280"/>
                    <a:pt x="4031" y="1905"/>
                    <a:pt x="4031" y="1531"/>
                  </a:cubicBezTo>
                  <a:cubicBezTo>
                    <a:pt x="4031" y="1218"/>
                    <a:pt x="3906" y="906"/>
                    <a:pt x="3625" y="5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3" name="Freeform 2">
              <a:extLst>
                <a:ext uri="{FF2B5EF4-FFF2-40B4-BE49-F238E27FC236}">
                  <a16:creationId xmlns:a16="http://schemas.microsoft.com/office/drawing/2014/main" id="{CAD3F577-FAD4-4169-913E-31809A4FFBDC}"/>
                </a:ext>
              </a:extLst>
            </p:cNvPr>
            <p:cNvSpPr>
              <a:spLocks noChangeArrowheads="1"/>
            </p:cNvSpPr>
            <p:nvPr/>
          </p:nvSpPr>
          <p:spPr bwMode="auto">
            <a:xfrm>
              <a:off x="3983038" y="3201988"/>
              <a:ext cx="855662" cy="1338262"/>
            </a:xfrm>
            <a:custGeom>
              <a:avLst/>
              <a:gdLst>
                <a:gd name="T0" fmla="*/ 1781 w 2376"/>
                <a:gd name="T1" fmla="*/ 2811 h 3718"/>
                <a:gd name="T2" fmla="*/ 1781 w 2376"/>
                <a:gd name="T3" fmla="*/ 2811 h 3718"/>
                <a:gd name="T4" fmla="*/ 2375 w 2376"/>
                <a:gd name="T5" fmla="*/ 1687 h 3718"/>
                <a:gd name="T6" fmla="*/ 1750 w 2376"/>
                <a:gd name="T7" fmla="*/ 500 h 3718"/>
                <a:gd name="T8" fmla="*/ 282 w 2376"/>
                <a:gd name="T9" fmla="*/ 0 h 3718"/>
                <a:gd name="T10" fmla="*/ 0 w 2376"/>
                <a:gd name="T11" fmla="*/ 31 h 3718"/>
                <a:gd name="T12" fmla="*/ 782 w 2376"/>
                <a:gd name="T13" fmla="*/ 531 h 3718"/>
                <a:gd name="T14" fmla="*/ 1250 w 2376"/>
                <a:gd name="T15" fmla="*/ 1656 h 3718"/>
                <a:gd name="T16" fmla="*/ 625 w 2376"/>
                <a:gd name="T17" fmla="*/ 2905 h 3718"/>
                <a:gd name="T18" fmla="*/ 0 w 2376"/>
                <a:gd name="T19" fmla="*/ 3280 h 3718"/>
                <a:gd name="T20" fmla="*/ 875 w 2376"/>
                <a:gd name="T21" fmla="*/ 3249 h 3718"/>
                <a:gd name="T22" fmla="*/ 1938 w 2376"/>
                <a:gd name="T23" fmla="*/ 3717 h 3718"/>
                <a:gd name="T24" fmla="*/ 2219 w 2376"/>
                <a:gd name="T25" fmla="*/ 3717 h 3718"/>
                <a:gd name="T26" fmla="*/ 2032 w 2376"/>
                <a:gd name="T27" fmla="*/ 3530 h 3718"/>
                <a:gd name="T28" fmla="*/ 1781 w 2376"/>
                <a:gd name="T29" fmla="*/ 2811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6" h="3718">
                  <a:moveTo>
                    <a:pt x="1781" y="2811"/>
                  </a:moveTo>
                  <a:lnTo>
                    <a:pt x="1781" y="2811"/>
                  </a:lnTo>
                  <a:cubicBezTo>
                    <a:pt x="2157" y="2499"/>
                    <a:pt x="2375" y="2092"/>
                    <a:pt x="2375" y="1687"/>
                  </a:cubicBezTo>
                  <a:cubicBezTo>
                    <a:pt x="2375" y="1218"/>
                    <a:pt x="2188" y="812"/>
                    <a:pt x="1750" y="500"/>
                  </a:cubicBezTo>
                  <a:cubicBezTo>
                    <a:pt x="1344" y="187"/>
                    <a:pt x="844" y="0"/>
                    <a:pt x="282" y="0"/>
                  </a:cubicBezTo>
                  <a:cubicBezTo>
                    <a:pt x="188" y="0"/>
                    <a:pt x="94" y="0"/>
                    <a:pt x="0" y="31"/>
                  </a:cubicBezTo>
                  <a:cubicBezTo>
                    <a:pt x="282" y="125"/>
                    <a:pt x="563" y="312"/>
                    <a:pt x="782" y="531"/>
                  </a:cubicBezTo>
                  <a:cubicBezTo>
                    <a:pt x="1094" y="843"/>
                    <a:pt x="1250" y="1218"/>
                    <a:pt x="1250" y="1656"/>
                  </a:cubicBezTo>
                  <a:cubicBezTo>
                    <a:pt x="1250" y="2124"/>
                    <a:pt x="1032" y="2592"/>
                    <a:pt x="625" y="2905"/>
                  </a:cubicBezTo>
                  <a:cubicBezTo>
                    <a:pt x="438" y="3061"/>
                    <a:pt x="219" y="3186"/>
                    <a:pt x="0" y="3280"/>
                  </a:cubicBezTo>
                  <a:cubicBezTo>
                    <a:pt x="282" y="3311"/>
                    <a:pt x="563" y="3280"/>
                    <a:pt x="875" y="3249"/>
                  </a:cubicBezTo>
                  <a:cubicBezTo>
                    <a:pt x="1125" y="3561"/>
                    <a:pt x="1469" y="3717"/>
                    <a:pt x="1938" y="3717"/>
                  </a:cubicBezTo>
                  <a:cubicBezTo>
                    <a:pt x="2219" y="3717"/>
                    <a:pt x="2219" y="3717"/>
                    <a:pt x="2219" y="3717"/>
                  </a:cubicBezTo>
                  <a:cubicBezTo>
                    <a:pt x="2032" y="3530"/>
                    <a:pt x="2032" y="3530"/>
                    <a:pt x="2032" y="3530"/>
                  </a:cubicBezTo>
                  <a:cubicBezTo>
                    <a:pt x="1813" y="3311"/>
                    <a:pt x="1750" y="3092"/>
                    <a:pt x="1781" y="28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4" name="Freeform 3">
              <a:extLst>
                <a:ext uri="{FF2B5EF4-FFF2-40B4-BE49-F238E27FC236}">
                  <a16:creationId xmlns:a16="http://schemas.microsoft.com/office/drawing/2014/main" id="{8EDCAE06-9FA2-4B47-B181-6930B4A19E56}"/>
                </a:ext>
              </a:extLst>
            </p:cNvPr>
            <p:cNvSpPr>
              <a:spLocks noChangeArrowheads="1"/>
            </p:cNvSpPr>
            <p:nvPr/>
          </p:nvSpPr>
          <p:spPr bwMode="auto">
            <a:xfrm>
              <a:off x="2836863" y="3201988"/>
              <a:ext cx="1530350" cy="1382712"/>
            </a:xfrm>
            <a:custGeom>
              <a:avLst/>
              <a:gdLst>
                <a:gd name="T0" fmla="*/ 219 w 4251"/>
                <a:gd name="T1" fmla="*/ 3717 h 3843"/>
                <a:gd name="T2" fmla="*/ 219 w 4251"/>
                <a:gd name="T3" fmla="*/ 3717 h 3843"/>
                <a:gd name="T4" fmla="*/ 594 w 4251"/>
                <a:gd name="T5" fmla="*/ 2811 h 3843"/>
                <a:gd name="T6" fmla="*/ 0 w 4251"/>
                <a:gd name="T7" fmla="*/ 1656 h 3843"/>
                <a:gd name="T8" fmla="*/ 625 w 4251"/>
                <a:gd name="T9" fmla="*/ 500 h 3843"/>
                <a:gd name="T10" fmla="*/ 2094 w 4251"/>
                <a:gd name="T11" fmla="*/ 0 h 3843"/>
                <a:gd name="T12" fmla="*/ 2094 w 4251"/>
                <a:gd name="T13" fmla="*/ 0 h 3843"/>
                <a:gd name="T14" fmla="*/ 3781 w 4251"/>
                <a:gd name="T15" fmla="*/ 625 h 3843"/>
                <a:gd name="T16" fmla="*/ 4250 w 4251"/>
                <a:gd name="T17" fmla="*/ 1656 h 3843"/>
                <a:gd name="T18" fmla="*/ 3656 w 4251"/>
                <a:gd name="T19" fmla="*/ 2780 h 3843"/>
                <a:gd name="T20" fmla="*/ 1469 w 4251"/>
                <a:gd name="T21" fmla="*/ 3217 h 3843"/>
                <a:gd name="T22" fmla="*/ 219 w 4251"/>
                <a:gd name="T23" fmla="*/ 3717 h 3843"/>
                <a:gd name="T24" fmla="*/ 719 w 4251"/>
                <a:gd name="T25" fmla="*/ 625 h 3843"/>
                <a:gd name="T26" fmla="*/ 719 w 4251"/>
                <a:gd name="T27" fmla="*/ 625 h 3843"/>
                <a:gd name="T28" fmla="*/ 187 w 4251"/>
                <a:gd name="T29" fmla="*/ 1656 h 3843"/>
                <a:gd name="T30" fmla="*/ 750 w 4251"/>
                <a:gd name="T31" fmla="*/ 2686 h 3843"/>
                <a:gd name="T32" fmla="*/ 625 w 4251"/>
                <a:gd name="T33" fmla="*/ 3530 h 3843"/>
                <a:gd name="T34" fmla="*/ 1406 w 4251"/>
                <a:gd name="T35" fmla="*/ 3030 h 3843"/>
                <a:gd name="T36" fmla="*/ 3562 w 4251"/>
                <a:gd name="T37" fmla="*/ 2655 h 3843"/>
                <a:gd name="T38" fmla="*/ 4062 w 4251"/>
                <a:gd name="T39" fmla="*/ 1656 h 3843"/>
                <a:gd name="T40" fmla="*/ 3656 w 4251"/>
                <a:gd name="T41" fmla="*/ 750 h 3843"/>
                <a:gd name="T42" fmla="*/ 2094 w 4251"/>
                <a:gd name="T43" fmla="*/ 187 h 3843"/>
                <a:gd name="T44" fmla="*/ 719 w 4251"/>
                <a:gd name="T45" fmla="*/ 625 h 3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51" h="3843">
                  <a:moveTo>
                    <a:pt x="219" y="3717"/>
                  </a:moveTo>
                  <a:lnTo>
                    <a:pt x="219" y="3717"/>
                  </a:lnTo>
                  <a:cubicBezTo>
                    <a:pt x="219" y="3717"/>
                    <a:pt x="656" y="3342"/>
                    <a:pt x="594" y="2811"/>
                  </a:cubicBezTo>
                  <a:cubicBezTo>
                    <a:pt x="219" y="2499"/>
                    <a:pt x="0" y="2092"/>
                    <a:pt x="0" y="1656"/>
                  </a:cubicBezTo>
                  <a:cubicBezTo>
                    <a:pt x="0" y="1218"/>
                    <a:pt x="219" y="812"/>
                    <a:pt x="625" y="500"/>
                  </a:cubicBezTo>
                  <a:cubicBezTo>
                    <a:pt x="1031" y="187"/>
                    <a:pt x="1531" y="0"/>
                    <a:pt x="2094" y="0"/>
                  </a:cubicBezTo>
                  <a:lnTo>
                    <a:pt x="2094" y="0"/>
                  </a:lnTo>
                  <a:cubicBezTo>
                    <a:pt x="2781" y="0"/>
                    <a:pt x="3375" y="218"/>
                    <a:pt x="3781" y="625"/>
                  </a:cubicBezTo>
                  <a:cubicBezTo>
                    <a:pt x="4094" y="937"/>
                    <a:pt x="4250" y="1281"/>
                    <a:pt x="4250" y="1656"/>
                  </a:cubicBezTo>
                  <a:cubicBezTo>
                    <a:pt x="4250" y="2092"/>
                    <a:pt x="4031" y="2499"/>
                    <a:pt x="3656" y="2780"/>
                  </a:cubicBezTo>
                  <a:cubicBezTo>
                    <a:pt x="3125" y="3217"/>
                    <a:pt x="2344" y="3374"/>
                    <a:pt x="1469" y="3217"/>
                  </a:cubicBezTo>
                  <a:cubicBezTo>
                    <a:pt x="1125" y="3842"/>
                    <a:pt x="219" y="3717"/>
                    <a:pt x="219" y="3717"/>
                  </a:cubicBezTo>
                  <a:close/>
                  <a:moveTo>
                    <a:pt x="719" y="625"/>
                  </a:moveTo>
                  <a:lnTo>
                    <a:pt x="719" y="625"/>
                  </a:lnTo>
                  <a:cubicBezTo>
                    <a:pt x="375" y="906"/>
                    <a:pt x="156" y="1281"/>
                    <a:pt x="187" y="1656"/>
                  </a:cubicBezTo>
                  <a:cubicBezTo>
                    <a:pt x="219" y="2374"/>
                    <a:pt x="750" y="2686"/>
                    <a:pt x="750" y="2686"/>
                  </a:cubicBezTo>
                  <a:cubicBezTo>
                    <a:pt x="750" y="2686"/>
                    <a:pt x="875" y="3186"/>
                    <a:pt x="625" y="3530"/>
                  </a:cubicBezTo>
                  <a:cubicBezTo>
                    <a:pt x="1125" y="3499"/>
                    <a:pt x="1406" y="3030"/>
                    <a:pt x="1406" y="3030"/>
                  </a:cubicBezTo>
                  <a:cubicBezTo>
                    <a:pt x="1406" y="3030"/>
                    <a:pt x="2719" y="3342"/>
                    <a:pt x="3562" y="2655"/>
                  </a:cubicBezTo>
                  <a:cubicBezTo>
                    <a:pt x="3875" y="2374"/>
                    <a:pt x="4062" y="2030"/>
                    <a:pt x="4062" y="1656"/>
                  </a:cubicBezTo>
                  <a:cubicBezTo>
                    <a:pt x="4062" y="1312"/>
                    <a:pt x="3906" y="1031"/>
                    <a:pt x="3656" y="750"/>
                  </a:cubicBezTo>
                  <a:cubicBezTo>
                    <a:pt x="3281" y="375"/>
                    <a:pt x="2656" y="187"/>
                    <a:pt x="2094" y="187"/>
                  </a:cubicBezTo>
                  <a:cubicBezTo>
                    <a:pt x="1562" y="187"/>
                    <a:pt x="1094" y="343"/>
                    <a:pt x="719" y="62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pic>
        <p:nvPicPr>
          <p:cNvPr id="32" name="Graphic 31" descr="Person with idea with solid fill">
            <a:extLst>
              <a:ext uri="{FF2B5EF4-FFF2-40B4-BE49-F238E27FC236}">
                <a16:creationId xmlns:a16="http://schemas.microsoft.com/office/drawing/2014/main" id="{5F130DE1-0EC5-483D-BA69-69F3B9E2F0E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81325" y="5444567"/>
            <a:ext cx="914400" cy="914400"/>
          </a:xfrm>
          <a:prstGeom prst="rect">
            <a:avLst/>
          </a:prstGeom>
        </p:spPr>
      </p:pic>
      <p:sp>
        <p:nvSpPr>
          <p:cNvPr id="7" name="Speech Bubble: Rectangle 6">
            <a:extLst>
              <a:ext uri="{FF2B5EF4-FFF2-40B4-BE49-F238E27FC236}">
                <a16:creationId xmlns:a16="http://schemas.microsoft.com/office/drawing/2014/main" id="{F1151509-6B29-430F-A7D9-B680A8252833}"/>
              </a:ext>
            </a:extLst>
          </p:cNvPr>
          <p:cNvSpPr/>
          <p:nvPr/>
        </p:nvSpPr>
        <p:spPr>
          <a:xfrm>
            <a:off x="2929328" y="5568695"/>
            <a:ext cx="3915972" cy="790271"/>
          </a:xfrm>
          <a:prstGeom prst="wedgeRectCallout">
            <a:avLst>
              <a:gd name="adj1" fmla="val -61469"/>
              <a:gd name="adj2" fmla="val 6010"/>
            </a:avLst>
          </a:prstGeom>
          <a:solidFill>
            <a:srgbClr val="FFFFFF"/>
          </a:solidFill>
          <a:ln w="28575">
            <a:solidFill>
              <a:schemeClr val="tx2"/>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b="1" dirty="0"/>
              <a:t>Dit icoon geeft aan dat deze vraag een hint bevat. Klik naar de volgende slide om die te zien. Als dit icoon er niet is, bevat de vraag geen hint. </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7" name="Oval 26">
            <a:extLst>
              <a:ext uri="{FF2B5EF4-FFF2-40B4-BE49-F238E27FC236}">
                <a16:creationId xmlns:a16="http://schemas.microsoft.com/office/drawing/2014/main" id="{F81D2311-30DD-45A1-B2EF-CE5C44C36968}"/>
              </a:ext>
            </a:extLst>
          </p:cNvPr>
          <p:cNvSpPr/>
          <p:nvPr/>
        </p:nvSpPr>
        <p:spPr>
          <a:xfrm>
            <a:off x="10055499" y="36609"/>
            <a:ext cx="148708" cy="148708"/>
          </a:xfrm>
          <a:prstGeom prst="ellipse">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95C5C9"/>
              </a:solidFill>
              <a:effectLst/>
              <a:uLnTx/>
              <a:uFillTx/>
              <a:latin typeface="Corbel" panose="020B0503020204020204" pitchFamily="34" charset="0"/>
              <a:ea typeface="+mn-ea"/>
              <a:cs typeface="+mn-cs"/>
            </a:endParaRPr>
          </a:p>
        </p:txBody>
      </p:sp>
      <p:sp>
        <p:nvSpPr>
          <p:cNvPr id="28" name="TextBox 27">
            <a:extLst>
              <a:ext uri="{FF2B5EF4-FFF2-40B4-BE49-F238E27FC236}">
                <a16:creationId xmlns:a16="http://schemas.microsoft.com/office/drawing/2014/main" id="{B7CBFCB0-2B94-4865-A5D0-6FD01376A4E3}"/>
              </a:ext>
            </a:extLst>
          </p:cNvPr>
          <p:cNvSpPr txBox="1"/>
          <p:nvPr/>
        </p:nvSpPr>
        <p:spPr>
          <a:xfrm>
            <a:off x="10067055" y="40328"/>
            <a:ext cx="137154" cy="141270"/>
          </a:xfrm>
          <a:prstGeom prst="rect">
            <a:avLst/>
          </a:prstGeom>
        </p:spPr>
        <p:txBody>
          <a:bodyPr vert="horz" wrap="square" lIns="0" tIns="0" rIns="0" bIns="0" rtlCol="0" anchor="ctr">
            <a:noAutofit/>
          </a:bodyPr>
          <a:lstStyle/>
          <a:p>
            <a:pPr marL="0" indent="0" algn="ctr">
              <a:buNone/>
            </a:pPr>
            <a:r>
              <a:rPr lang="nl-NL" sz="1000" b="1" noProof="0" dirty="0">
                <a:solidFill>
                  <a:srgbClr val="95C5C9"/>
                </a:solidFill>
              </a:rPr>
              <a:t>1</a:t>
            </a:r>
            <a:endParaRPr lang="nl-NL" b="1" noProof="0" dirty="0">
              <a:solidFill>
                <a:srgbClr val="95C5C9"/>
              </a:solidFill>
            </a:endParaRPr>
          </a:p>
        </p:txBody>
      </p:sp>
      <p:sp>
        <p:nvSpPr>
          <p:cNvPr id="29" name="TextBox 28">
            <a:extLst>
              <a:ext uri="{FF2B5EF4-FFF2-40B4-BE49-F238E27FC236}">
                <a16:creationId xmlns:a16="http://schemas.microsoft.com/office/drawing/2014/main" id="{6B5C0779-D49E-4075-A006-BCEE2050CFFF}"/>
              </a:ext>
            </a:extLst>
          </p:cNvPr>
          <p:cNvSpPr txBox="1"/>
          <p:nvPr/>
        </p:nvSpPr>
        <p:spPr>
          <a:xfrm>
            <a:off x="10256482"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2</a:t>
            </a:r>
          </a:p>
        </p:txBody>
      </p:sp>
      <p:sp>
        <p:nvSpPr>
          <p:cNvPr id="30" name="TextBox 29">
            <a:extLst>
              <a:ext uri="{FF2B5EF4-FFF2-40B4-BE49-F238E27FC236}">
                <a16:creationId xmlns:a16="http://schemas.microsoft.com/office/drawing/2014/main" id="{D1C4AA04-AD25-4D80-8D93-40ECF0809F03}"/>
              </a:ext>
            </a:extLst>
          </p:cNvPr>
          <p:cNvSpPr txBox="1"/>
          <p:nvPr/>
        </p:nvSpPr>
        <p:spPr>
          <a:xfrm>
            <a:off x="10445909"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3</a:t>
            </a:r>
          </a:p>
        </p:txBody>
      </p:sp>
      <p:sp>
        <p:nvSpPr>
          <p:cNvPr id="31" name="TextBox 30">
            <a:extLst>
              <a:ext uri="{FF2B5EF4-FFF2-40B4-BE49-F238E27FC236}">
                <a16:creationId xmlns:a16="http://schemas.microsoft.com/office/drawing/2014/main" id="{6FBAF335-EE8B-40AC-99C3-DCC15DF44AB6}"/>
              </a:ext>
            </a:extLst>
          </p:cNvPr>
          <p:cNvSpPr txBox="1"/>
          <p:nvPr/>
        </p:nvSpPr>
        <p:spPr>
          <a:xfrm>
            <a:off x="10635336"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4</a:t>
            </a:r>
            <a:endParaRPr lang="nl-NL" noProof="0" dirty="0">
              <a:solidFill>
                <a:srgbClr val="95C5C9"/>
              </a:solidFill>
            </a:endParaRPr>
          </a:p>
        </p:txBody>
      </p:sp>
      <p:sp>
        <p:nvSpPr>
          <p:cNvPr id="33" name="TextBox 32">
            <a:extLst>
              <a:ext uri="{FF2B5EF4-FFF2-40B4-BE49-F238E27FC236}">
                <a16:creationId xmlns:a16="http://schemas.microsoft.com/office/drawing/2014/main" id="{438C0135-5588-4714-B55F-649BAD885415}"/>
              </a:ext>
            </a:extLst>
          </p:cNvPr>
          <p:cNvSpPr txBox="1"/>
          <p:nvPr/>
        </p:nvSpPr>
        <p:spPr>
          <a:xfrm>
            <a:off x="10824763"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5</a:t>
            </a:r>
            <a:endParaRPr lang="nl-NL" sz="1000" noProof="0" dirty="0">
              <a:solidFill>
                <a:srgbClr val="95C5C9"/>
              </a:solidFill>
            </a:endParaRPr>
          </a:p>
        </p:txBody>
      </p:sp>
      <p:sp>
        <p:nvSpPr>
          <p:cNvPr id="34" name="TextBox 33">
            <a:extLst>
              <a:ext uri="{FF2B5EF4-FFF2-40B4-BE49-F238E27FC236}">
                <a16:creationId xmlns:a16="http://schemas.microsoft.com/office/drawing/2014/main" id="{8CC63DFB-1766-41AC-9EB5-DCF6E86B375C}"/>
              </a:ext>
            </a:extLst>
          </p:cNvPr>
          <p:cNvSpPr txBox="1"/>
          <p:nvPr/>
        </p:nvSpPr>
        <p:spPr>
          <a:xfrm>
            <a:off x="11014190"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6</a:t>
            </a:r>
          </a:p>
        </p:txBody>
      </p:sp>
      <p:sp>
        <p:nvSpPr>
          <p:cNvPr id="35" name="TextBox 34">
            <a:extLst>
              <a:ext uri="{FF2B5EF4-FFF2-40B4-BE49-F238E27FC236}">
                <a16:creationId xmlns:a16="http://schemas.microsoft.com/office/drawing/2014/main" id="{6E00EE68-4A25-428A-8632-3D5226189B12}"/>
              </a:ext>
            </a:extLst>
          </p:cNvPr>
          <p:cNvSpPr txBox="1"/>
          <p:nvPr/>
        </p:nvSpPr>
        <p:spPr>
          <a:xfrm>
            <a:off x="11203617"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7</a:t>
            </a:r>
            <a:endParaRPr lang="nl-NL" sz="1000" noProof="0" dirty="0">
              <a:solidFill>
                <a:srgbClr val="95C5C9"/>
              </a:solidFill>
            </a:endParaRPr>
          </a:p>
        </p:txBody>
      </p:sp>
    </p:spTree>
    <p:extLst>
      <p:ext uri="{BB962C8B-B14F-4D97-AF65-F5344CB8AC3E}">
        <p14:creationId xmlns:p14="http://schemas.microsoft.com/office/powerpoint/2010/main" val="13380178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ABE98B0-3C8A-43C8-8200-5975A1E67A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37"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CABE98B0-3C8A-43C8-8200-5975A1E67A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B7005C69-C8D5-4CD2-A222-DB83596ED306}"/>
              </a:ext>
            </a:extLst>
          </p:cNvPr>
          <p:cNvSpPr>
            <a:spLocks noGrp="1"/>
          </p:cNvSpPr>
          <p:nvPr>
            <p:ph type="ftr" sz="quarter" idx="3"/>
          </p:nvPr>
        </p:nvSpPr>
        <p:spPr/>
        <p:txBody>
          <a:bodyPr/>
          <a:lstStyle/>
          <a:p>
            <a:r>
              <a:rPr lang="nl-NL" noProof="0"/>
              <a:t>Bron: </a:t>
            </a:r>
          </a:p>
        </p:txBody>
      </p:sp>
      <p:pic>
        <p:nvPicPr>
          <p:cNvPr id="61442" name="Picture 2">
            <a:extLst>
              <a:ext uri="{FF2B5EF4-FFF2-40B4-BE49-F238E27FC236}">
                <a16:creationId xmlns:a16="http://schemas.microsoft.com/office/drawing/2014/main" id="{F31421FC-687C-4775-BBCA-9AC90E0C78E6}"/>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D85439E5-6E0C-4BFB-9E2A-FA280E638BDE}"/>
              </a:ext>
            </a:extLst>
          </p:cNvPr>
          <p:cNvSpPr/>
          <p:nvPr/>
        </p:nvSpPr>
        <p:spPr>
          <a:xfrm>
            <a:off x="0" y="0"/>
            <a:ext cx="12192296" cy="6858001"/>
          </a:xfrm>
          <a:prstGeom prst="rect">
            <a:avLst/>
          </a:prstGeom>
          <a:solidFill>
            <a:schemeClr val="bg1">
              <a:lumMod val="95000"/>
              <a:alpha val="88000"/>
            </a:schemeClr>
          </a:solidFill>
          <a:ln>
            <a:noFill/>
          </a:ln>
        </p:spPr>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0" indent="0">
              <a:lnSpc>
                <a:spcPct val="100000"/>
              </a:lnSpc>
              <a:buNone/>
            </a:pPr>
            <a:r>
              <a:rPr lang="nl-NL" sz="4400" b="1" dirty="0">
                <a:solidFill>
                  <a:schemeClr val="tx2"/>
                </a:solidFill>
              </a:rPr>
              <a:t>Vraag 1</a:t>
            </a:r>
          </a:p>
          <a:p>
            <a:pPr marL="0" indent="0">
              <a:lnSpc>
                <a:spcPct val="100000"/>
              </a:lnSpc>
              <a:buNone/>
            </a:pPr>
            <a:br>
              <a:rPr lang="nl-NL" sz="2400" dirty="0">
                <a:solidFill>
                  <a:schemeClr val="tx1"/>
                </a:solidFill>
              </a:rPr>
            </a:br>
            <a:r>
              <a:rPr lang="nl-NL" sz="2400" dirty="0">
                <a:solidFill>
                  <a:schemeClr val="tx1"/>
                </a:solidFill>
              </a:rPr>
              <a:t>Na afloop van een meeting op het stadhuis sprak ik nog kort met de wethouder onderwijs van gemeente Amsterdam. Ze gaf aan dat het lerarentekort in Amsterdam steeds nijpender wordt; van alle kanten komen signalen dat basisscholen problemen hebben met het vinden van leerkrachten. Toch is het probleem nog steeds onduidelijk, en ook is het onbekend waarom het probleem nu zo anders is dan in overige gemeenten. Ze vraagt ons om eens kort een blik te werpen op het lerarentekort en na te denken over wat ze mogelijk kan doen om het tekort te adresseren.</a:t>
            </a:r>
          </a:p>
          <a:p>
            <a:pPr>
              <a:lnSpc>
                <a:spcPct val="100000"/>
              </a:lnSpc>
            </a:pPr>
            <a:endParaRPr lang="nl-NL" sz="2400" dirty="0">
              <a:solidFill>
                <a:schemeClr val="tx1"/>
              </a:solidFill>
            </a:endParaRPr>
          </a:p>
          <a:p>
            <a:pPr marL="0" indent="0">
              <a:lnSpc>
                <a:spcPct val="100000"/>
              </a:lnSpc>
              <a:buNone/>
            </a:pPr>
            <a:r>
              <a:rPr lang="nl-NL" sz="2400" dirty="0">
                <a:solidFill>
                  <a:schemeClr val="tx1"/>
                </a:solidFill>
              </a:rPr>
              <a:t>Met welke structuur zouden we het probleem kunnen onderzoeken zodat we daarna met onze eerste hypotheses terug kunnen komen bij de wethouder. Hoe begin je?</a:t>
            </a:r>
          </a:p>
          <a:p>
            <a:pPr algn="ctr">
              <a:lnSpc>
                <a:spcPct val="100000"/>
              </a:lnSpc>
              <a:buClr>
                <a:schemeClr val="tx2"/>
              </a:buClr>
            </a:pPr>
            <a:endParaRPr kumimoji="0" lang="nl-NL" sz="2400" i="0" u="none" strike="noStrike" kern="1200" cap="none" spc="0" normalizeH="0" baseline="0" noProof="0" dirty="0">
              <a:ln>
                <a:noFill/>
              </a:ln>
              <a:solidFill>
                <a:schemeClr val="tx1"/>
              </a:solidFill>
              <a:effectLst/>
              <a:uLnTx/>
              <a:uFillTx/>
              <a:latin typeface="Corbel" panose="020B0503020204020204" pitchFamily="34" charset="0"/>
              <a:ea typeface="+mn-ea"/>
              <a:cs typeface="+mn-cs"/>
            </a:endParaRPr>
          </a:p>
        </p:txBody>
      </p:sp>
      <p:grpSp>
        <p:nvGrpSpPr>
          <p:cNvPr id="21" name="Group 20">
            <a:extLst>
              <a:ext uri="{FF2B5EF4-FFF2-40B4-BE49-F238E27FC236}">
                <a16:creationId xmlns:a16="http://schemas.microsoft.com/office/drawing/2014/main" id="{C5578B65-C922-42B5-B58E-017E05320628}"/>
              </a:ext>
            </a:extLst>
          </p:cNvPr>
          <p:cNvGrpSpPr/>
          <p:nvPr/>
        </p:nvGrpSpPr>
        <p:grpSpPr>
          <a:xfrm>
            <a:off x="2192835" y="237963"/>
            <a:ext cx="736493" cy="508712"/>
            <a:chOff x="2836863" y="3201988"/>
            <a:chExt cx="2001837" cy="1382712"/>
          </a:xfrm>
          <a:solidFill>
            <a:schemeClr val="tx2"/>
          </a:solidFill>
        </p:grpSpPr>
        <p:sp>
          <p:nvSpPr>
            <p:cNvPr id="22" name="Freeform 1">
              <a:extLst>
                <a:ext uri="{FF2B5EF4-FFF2-40B4-BE49-F238E27FC236}">
                  <a16:creationId xmlns:a16="http://schemas.microsoft.com/office/drawing/2014/main" id="{3B7896AF-670D-49F2-865F-D697DA861715}"/>
                </a:ext>
              </a:extLst>
            </p:cNvPr>
            <p:cNvSpPr>
              <a:spLocks noChangeArrowheads="1"/>
            </p:cNvSpPr>
            <p:nvPr/>
          </p:nvSpPr>
          <p:spPr bwMode="auto">
            <a:xfrm>
              <a:off x="2870200" y="3246438"/>
              <a:ext cx="1450975" cy="1247775"/>
            </a:xfrm>
            <a:custGeom>
              <a:avLst/>
              <a:gdLst>
                <a:gd name="T0" fmla="*/ 3625 w 4032"/>
                <a:gd name="T1" fmla="*/ 593 h 3468"/>
                <a:gd name="T2" fmla="*/ 3625 w 4032"/>
                <a:gd name="T3" fmla="*/ 593 h 3468"/>
                <a:gd name="T4" fmla="*/ 2000 w 4032"/>
                <a:gd name="T5" fmla="*/ 0 h 3468"/>
                <a:gd name="T6" fmla="*/ 593 w 4032"/>
                <a:gd name="T7" fmla="*/ 468 h 3468"/>
                <a:gd name="T8" fmla="*/ 593 w 4032"/>
                <a:gd name="T9" fmla="*/ 468 h 3468"/>
                <a:gd name="T10" fmla="*/ 31 w 4032"/>
                <a:gd name="T11" fmla="*/ 1531 h 3468"/>
                <a:gd name="T12" fmla="*/ 593 w 4032"/>
                <a:gd name="T13" fmla="*/ 2592 h 3468"/>
                <a:gd name="T14" fmla="*/ 500 w 4032"/>
                <a:gd name="T15" fmla="*/ 3374 h 3468"/>
                <a:gd name="T16" fmla="*/ 406 w 4032"/>
                <a:gd name="T17" fmla="*/ 3467 h 3468"/>
                <a:gd name="T18" fmla="*/ 531 w 4032"/>
                <a:gd name="T19" fmla="*/ 3467 h 3468"/>
                <a:gd name="T20" fmla="*/ 1343 w 4032"/>
                <a:gd name="T21" fmla="*/ 2967 h 3468"/>
                <a:gd name="T22" fmla="*/ 2093 w 4032"/>
                <a:gd name="T23" fmla="*/ 3030 h 3468"/>
                <a:gd name="T24" fmla="*/ 3531 w 4032"/>
                <a:gd name="T25" fmla="*/ 2592 h 3468"/>
                <a:gd name="T26" fmla="*/ 4031 w 4032"/>
                <a:gd name="T27" fmla="*/ 1531 h 3468"/>
                <a:gd name="T28" fmla="*/ 3625 w 4032"/>
                <a:gd name="T29" fmla="*/ 593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2" h="3468">
                  <a:moveTo>
                    <a:pt x="3625" y="593"/>
                  </a:moveTo>
                  <a:lnTo>
                    <a:pt x="3625" y="593"/>
                  </a:lnTo>
                  <a:cubicBezTo>
                    <a:pt x="3250" y="218"/>
                    <a:pt x="2625" y="0"/>
                    <a:pt x="2000" y="0"/>
                  </a:cubicBezTo>
                  <a:cubicBezTo>
                    <a:pt x="1468" y="0"/>
                    <a:pt x="1000" y="156"/>
                    <a:pt x="593" y="468"/>
                  </a:cubicBezTo>
                  <a:lnTo>
                    <a:pt x="593" y="468"/>
                  </a:lnTo>
                  <a:cubicBezTo>
                    <a:pt x="218" y="781"/>
                    <a:pt x="0" y="1156"/>
                    <a:pt x="31" y="1531"/>
                  </a:cubicBezTo>
                  <a:cubicBezTo>
                    <a:pt x="62" y="2217"/>
                    <a:pt x="500" y="2530"/>
                    <a:pt x="593" y="2592"/>
                  </a:cubicBezTo>
                  <a:cubicBezTo>
                    <a:pt x="625" y="2717"/>
                    <a:pt x="687" y="3092"/>
                    <a:pt x="500" y="3374"/>
                  </a:cubicBezTo>
                  <a:cubicBezTo>
                    <a:pt x="406" y="3467"/>
                    <a:pt x="406" y="3467"/>
                    <a:pt x="406" y="3467"/>
                  </a:cubicBezTo>
                  <a:cubicBezTo>
                    <a:pt x="531" y="3467"/>
                    <a:pt x="531" y="3467"/>
                    <a:pt x="531" y="3467"/>
                  </a:cubicBezTo>
                  <a:cubicBezTo>
                    <a:pt x="1000" y="3436"/>
                    <a:pt x="1281" y="3092"/>
                    <a:pt x="1343" y="2967"/>
                  </a:cubicBezTo>
                  <a:cubicBezTo>
                    <a:pt x="1437" y="2999"/>
                    <a:pt x="1718" y="3061"/>
                    <a:pt x="2093" y="3030"/>
                  </a:cubicBezTo>
                  <a:cubicBezTo>
                    <a:pt x="2656" y="3030"/>
                    <a:pt x="3156" y="2874"/>
                    <a:pt x="3531" y="2592"/>
                  </a:cubicBezTo>
                  <a:cubicBezTo>
                    <a:pt x="3843" y="2280"/>
                    <a:pt x="4031" y="1905"/>
                    <a:pt x="4031" y="1531"/>
                  </a:cubicBezTo>
                  <a:cubicBezTo>
                    <a:pt x="4031" y="1218"/>
                    <a:pt x="3906" y="906"/>
                    <a:pt x="3625" y="5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3" name="Freeform 2">
              <a:extLst>
                <a:ext uri="{FF2B5EF4-FFF2-40B4-BE49-F238E27FC236}">
                  <a16:creationId xmlns:a16="http://schemas.microsoft.com/office/drawing/2014/main" id="{CAD3F577-FAD4-4169-913E-31809A4FFBDC}"/>
                </a:ext>
              </a:extLst>
            </p:cNvPr>
            <p:cNvSpPr>
              <a:spLocks noChangeArrowheads="1"/>
            </p:cNvSpPr>
            <p:nvPr/>
          </p:nvSpPr>
          <p:spPr bwMode="auto">
            <a:xfrm>
              <a:off x="3983038" y="3201988"/>
              <a:ext cx="855662" cy="1338262"/>
            </a:xfrm>
            <a:custGeom>
              <a:avLst/>
              <a:gdLst>
                <a:gd name="T0" fmla="*/ 1781 w 2376"/>
                <a:gd name="T1" fmla="*/ 2811 h 3718"/>
                <a:gd name="T2" fmla="*/ 1781 w 2376"/>
                <a:gd name="T3" fmla="*/ 2811 h 3718"/>
                <a:gd name="T4" fmla="*/ 2375 w 2376"/>
                <a:gd name="T5" fmla="*/ 1687 h 3718"/>
                <a:gd name="T6" fmla="*/ 1750 w 2376"/>
                <a:gd name="T7" fmla="*/ 500 h 3718"/>
                <a:gd name="T8" fmla="*/ 282 w 2376"/>
                <a:gd name="T9" fmla="*/ 0 h 3718"/>
                <a:gd name="T10" fmla="*/ 0 w 2376"/>
                <a:gd name="T11" fmla="*/ 31 h 3718"/>
                <a:gd name="T12" fmla="*/ 782 w 2376"/>
                <a:gd name="T13" fmla="*/ 531 h 3718"/>
                <a:gd name="T14" fmla="*/ 1250 w 2376"/>
                <a:gd name="T15" fmla="*/ 1656 h 3718"/>
                <a:gd name="T16" fmla="*/ 625 w 2376"/>
                <a:gd name="T17" fmla="*/ 2905 h 3718"/>
                <a:gd name="T18" fmla="*/ 0 w 2376"/>
                <a:gd name="T19" fmla="*/ 3280 h 3718"/>
                <a:gd name="T20" fmla="*/ 875 w 2376"/>
                <a:gd name="T21" fmla="*/ 3249 h 3718"/>
                <a:gd name="T22" fmla="*/ 1938 w 2376"/>
                <a:gd name="T23" fmla="*/ 3717 h 3718"/>
                <a:gd name="T24" fmla="*/ 2219 w 2376"/>
                <a:gd name="T25" fmla="*/ 3717 h 3718"/>
                <a:gd name="T26" fmla="*/ 2032 w 2376"/>
                <a:gd name="T27" fmla="*/ 3530 h 3718"/>
                <a:gd name="T28" fmla="*/ 1781 w 2376"/>
                <a:gd name="T29" fmla="*/ 2811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6" h="3718">
                  <a:moveTo>
                    <a:pt x="1781" y="2811"/>
                  </a:moveTo>
                  <a:lnTo>
                    <a:pt x="1781" y="2811"/>
                  </a:lnTo>
                  <a:cubicBezTo>
                    <a:pt x="2157" y="2499"/>
                    <a:pt x="2375" y="2092"/>
                    <a:pt x="2375" y="1687"/>
                  </a:cubicBezTo>
                  <a:cubicBezTo>
                    <a:pt x="2375" y="1218"/>
                    <a:pt x="2188" y="812"/>
                    <a:pt x="1750" y="500"/>
                  </a:cubicBezTo>
                  <a:cubicBezTo>
                    <a:pt x="1344" y="187"/>
                    <a:pt x="844" y="0"/>
                    <a:pt x="282" y="0"/>
                  </a:cubicBezTo>
                  <a:cubicBezTo>
                    <a:pt x="188" y="0"/>
                    <a:pt x="94" y="0"/>
                    <a:pt x="0" y="31"/>
                  </a:cubicBezTo>
                  <a:cubicBezTo>
                    <a:pt x="282" y="125"/>
                    <a:pt x="563" y="312"/>
                    <a:pt x="782" y="531"/>
                  </a:cubicBezTo>
                  <a:cubicBezTo>
                    <a:pt x="1094" y="843"/>
                    <a:pt x="1250" y="1218"/>
                    <a:pt x="1250" y="1656"/>
                  </a:cubicBezTo>
                  <a:cubicBezTo>
                    <a:pt x="1250" y="2124"/>
                    <a:pt x="1032" y="2592"/>
                    <a:pt x="625" y="2905"/>
                  </a:cubicBezTo>
                  <a:cubicBezTo>
                    <a:pt x="438" y="3061"/>
                    <a:pt x="219" y="3186"/>
                    <a:pt x="0" y="3280"/>
                  </a:cubicBezTo>
                  <a:cubicBezTo>
                    <a:pt x="282" y="3311"/>
                    <a:pt x="563" y="3280"/>
                    <a:pt x="875" y="3249"/>
                  </a:cubicBezTo>
                  <a:cubicBezTo>
                    <a:pt x="1125" y="3561"/>
                    <a:pt x="1469" y="3717"/>
                    <a:pt x="1938" y="3717"/>
                  </a:cubicBezTo>
                  <a:cubicBezTo>
                    <a:pt x="2219" y="3717"/>
                    <a:pt x="2219" y="3717"/>
                    <a:pt x="2219" y="3717"/>
                  </a:cubicBezTo>
                  <a:cubicBezTo>
                    <a:pt x="2032" y="3530"/>
                    <a:pt x="2032" y="3530"/>
                    <a:pt x="2032" y="3530"/>
                  </a:cubicBezTo>
                  <a:cubicBezTo>
                    <a:pt x="1813" y="3311"/>
                    <a:pt x="1750" y="3092"/>
                    <a:pt x="1781" y="28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4" name="Freeform 3">
              <a:extLst>
                <a:ext uri="{FF2B5EF4-FFF2-40B4-BE49-F238E27FC236}">
                  <a16:creationId xmlns:a16="http://schemas.microsoft.com/office/drawing/2014/main" id="{8EDCAE06-9FA2-4B47-B181-6930B4A19E56}"/>
                </a:ext>
              </a:extLst>
            </p:cNvPr>
            <p:cNvSpPr>
              <a:spLocks noChangeArrowheads="1"/>
            </p:cNvSpPr>
            <p:nvPr/>
          </p:nvSpPr>
          <p:spPr bwMode="auto">
            <a:xfrm>
              <a:off x="2836863" y="3201988"/>
              <a:ext cx="1530350" cy="1382712"/>
            </a:xfrm>
            <a:custGeom>
              <a:avLst/>
              <a:gdLst>
                <a:gd name="T0" fmla="*/ 219 w 4251"/>
                <a:gd name="T1" fmla="*/ 3717 h 3843"/>
                <a:gd name="T2" fmla="*/ 219 w 4251"/>
                <a:gd name="T3" fmla="*/ 3717 h 3843"/>
                <a:gd name="T4" fmla="*/ 594 w 4251"/>
                <a:gd name="T5" fmla="*/ 2811 h 3843"/>
                <a:gd name="T6" fmla="*/ 0 w 4251"/>
                <a:gd name="T7" fmla="*/ 1656 h 3843"/>
                <a:gd name="T8" fmla="*/ 625 w 4251"/>
                <a:gd name="T9" fmla="*/ 500 h 3843"/>
                <a:gd name="T10" fmla="*/ 2094 w 4251"/>
                <a:gd name="T11" fmla="*/ 0 h 3843"/>
                <a:gd name="T12" fmla="*/ 2094 w 4251"/>
                <a:gd name="T13" fmla="*/ 0 h 3843"/>
                <a:gd name="T14" fmla="*/ 3781 w 4251"/>
                <a:gd name="T15" fmla="*/ 625 h 3843"/>
                <a:gd name="T16" fmla="*/ 4250 w 4251"/>
                <a:gd name="T17" fmla="*/ 1656 h 3843"/>
                <a:gd name="T18" fmla="*/ 3656 w 4251"/>
                <a:gd name="T19" fmla="*/ 2780 h 3843"/>
                <a:gd name="T20" fmla="*/ 1469 w 4251"/>
                <a:gd name="T21" fmla="*/ 3217 h 3843"/>
                <a:gd name="T22" fmla="*/ 219 w 4251"/>
                <a:gd name="T23" fmla="*/ 3717 h 3843"/>
                <a:gd name="T24" fmla="*/ 719 w 4251"/>
                <a:gd name="T25" fmla="*/ 625 h 3843"/>
                <a:gd name="T26" fmla="*/ 719 w 4251"/>
                <a:gd name="T27" fmla="*/ 625 h 3843"/>
                <a:gd name="T28" fmla="*/ 187 w 4251"/>
                <a:gd name="T29" fmla="*/ 1656 h 3843"/>
                <a:gd name="T30" fmla="*/ 750 w 4251"/>
                <a:gd name="T31" fmla="*/ 2686 h 3843"/>
                <a:gd name="T32" fmla="*/ 625 w 4251"/>
                <a:gd name="T33" fmla="*/ 3530 h 3843"/>
                <a:gd name="T34" fmla="*/ 1406 w 4251"/>
                <a:gd name="T35" fmla="*/ 3030 h 3843"/>
                <a:gd name="T36" fmla="*/ 3562 w 4251"/>
                <a:gd name="T37" fmla="*/ 2655 h 3843"/>
                <a:gd name="T38" fmla="*/ 4062 w 4251"/>
                <a:gd name="T39" fmla="*/ 1656 h 3843"/>
                <a:gd name="T40" fmla="*/ 3656 w 4251"/>
                <a:gd name="T41" fmla="*/ 750 h 3843"/>
                <a:gd name="T42" fmla="*/ 2094 w 4251"/>
                <a:gd name="T43" fmla="*/ 187 h 3843"/>
                <a:gd name="T44" fmla="*/ 719 w 4251"/>
                <a:gd name="T45" fmla="*/ 625 h 3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51" h="3843">
                  <a:moveTo>
                    <a:pt x="219" y="3717"/>
                  </a:moveTo>
                  <a:lnTo>
                    <a:pt x="219" y="3717"/>
                  </a:lnTo>
                  <a:cubicBezTo>
                    <a:pt x="219" y="3717"/>
                    <a:pt x="656" y="3342"/>
                    <a:pt x="594" y="2811"/>
                  </a:cubicBezTo>
                  <a:cubicBezTo>
                    <a:pt x="219" y="2499"/>
                    <a:pt x="0" y="2092"/>
                    <a:pt x="0" y="1656"/>
                  </a:cubicBezTo>
                  <a:cubicBezTo>
                    <a:pt x="0" y="1218"/>
                    <a:pt x="219" y="812"/>
                    <a:pt x="625" y="500"/>
                  </a:cubicBezTo>
                  <a:cubicBezTo>
                    <a:pt x="1031" y="187"/>
                    <a:pt x="1531" y="0"/>
                    <a:pt x="2094" y="0"/>
                  </a:cubicBezTo>
                  <a:lnTo>
                    <a:pt x="2094" y="0"/>
                  </a:lnTo>
                  <a:cubicBezTo>
                    <a:pt x="2781" y="0"/>
                    <a:pt x="3375" y="218"/>
                    <a:pt x="3781" y="625"/>
                  </a:cubicBezTo>
                  <a:cubicBezTo>
                    <a:pt x="4094" y="937"/>
                    <a:pt x="4250" y="1281"/>
                    <a:pt x="4250" y="1656"/>
                  </a:cubicBezTo>
                  <a:cubicBezTo>
                    <a:pt x="4250" y="2092"/>
                    <a:pt x="4031" y="2499"/>
                    <a:pt x="3656" y="2780"/>
                  </a:cubicBezTo>
                  <a:cubicBezTo>
                    <a:pt x="3125" y="3217"/>
                    <a:pt x="2344" y="3374"/>
                    <a:pt x="1469" y="3217"/>
                  </a:cubicBezTo>
                  <a:cubicBezTo>
                    <a:pt x="1125" y="3842"/>
                    <a:pt x="219" y="3717"/>
                    <a:pt x="219" y="3717"/>
                  </a:cubicBezTo>
                  <a:close/>
                  <a:moveTo>
                    <a:pt x="719" y="625"/>
                  </a:moveTo>
                  <a:lnTo>
                    <a:pt x="719" y="625"/>
                  </a:lnTo>
                  <a:cubicBezTo>
                    <a:pt x="375" y="906"/>
                    <a:pt x="156" y="1281"/>
                    <a:pt x="187" y="1656"/>
                  </a:cubicBezTo>
                  <a:cubicBezTo>
                    <a:pt x="219" y="2374"/>
                    <a:pt x="750" y="2686"/>
                    <a:pt x="750" y="2686"/>
                  </a:cubicBezTo>
                  <a:cubicBezTo>
                    <a:pt x="750" y="2686"/>
                    <a:pt x="875" y="3186"/>
                    <a:pt x="625" y="3530"/>
                  </a:cubicBezTo>
                  <a:cubicBezTo>
                    <a:pt x="1125" y="3499"/>
                    <a:pt x="1406" y="3030"/>
                    <a:pt x="1406" y="3030"/>
                  </a:cubicBezTo>
                  <a:cubicBezTo>
                    <a:pt x="1406" y="3030"/>
                    <a:pt x="2719" y="3342"/>
                    <a:pt x="3562" y="2655"/>
                  </a:cubicBezTo>
                  <a:cubicBezTo>
                    <a:pt x="3875" y="2374"/>
                    <a:pt x="4062" y="2030"/>
                    <a:pt x="4062" y="1656"/>
                  </a:cubicBezTo>
                  <a:cubicBezTo>
                    <a:pt x="4062" y="1312"/>
                    <a:pt x="3906" y="1031"/>
                    <a:pt x="3656" y="750"/>
                  </a:cubicBezTo>
                  <a:cubicBezTo>
                    <a:pt x="3281" y="375"/>
                    <a:pt x="2656" y="187"/>
                    <a:pt x="2094" y="187"/>
                  </a:cubicBezTo>
                  <a:cubicBezTo>
                    <a:pt x="1562" y="187"/>
                    <a:pt x="1094" y="343"/>
                    <a:pt x="719" y="62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pic>
        <p:nvPicPr>
          <p:cNvPr id="32" name="Graphic 31" descr="Person with idea with solid fill">
            <a:extLst>
              <a:ext uri="{FF2B5EF4-FFF2-40B4-BE49-F238E27FC236}">
                <a16:creationId xmlns:a16="http://schemas.microsoft.com/office/drawing/2014/main" id="{5F130DE1-0EC5-483D-BA69-69F3B9E2F0E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81325" y="5444567"/>
            <a:ext cx="914400" cy="914400"/>
          </a:xfrm>
          <a:prstGeom prst="rect">
            <a:avLst/>
          </a:prstGeom>
        </p:spPr>
      </p:pic>
      <p:sp>
        <p:nvSpPr>
          <p:cNvPr id="7" name="Speech Bubble: Rectangle 6">
            <a:extLst>
              <a:ext uri="{FF2B5EF4-FFF2-40B4-BE49-F238E27FC236}">
                <a16:creationId xmlns:a16="http://schemas.microsoft.com/office/drawing/2014/main" id="{F1151509-6B29-430F-A7D9-B680A8252833}"/>
              </a:ext>
            </a:extLst>
          </p:cNvPr>
          <p:cNvSpPr/>
          <p:nvPr/>
        </p:nvSpPr>
        <p:spPr>
          <a:xfrm>
            <a:off x="2929328" y="5568695"/>
            <a:ext cx="3915972" cy="790271"/>
          </a:xfrm>
          <a:prstGeom prst="wedgeRectCallout">
            <a:avLst>
              <a:gd name="adj1" fmla="val -61469"/>
              <a:gd name="adj2" fmla="val 6010"/>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b="1" dirty="0">
                <a:solidFill>
                  <a:srgbClr val="FFFFFF"/>
                </a:solidFill>
              </a:rPr>
              <a:t>Dit icoon geeft aan dat deze vraag een hint bevat. Klik naar de volgende slide om die te zien. Als dit icoon er niet is, bevat de vraag geen hint. </a:t>
            </a:r>
            <a:endPar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0A273E5F-63EE-44D0-A530-F15ACD8AFF54}"/>
              </a:ext>
            </a:extLst>
          </p:cNvPr>
          <p:cNvSpPr/>
          <p:nvPr/>
        </p:nvSpPr>
        <p:spPr>
          <a:xfrm>
            <a:off x="0" y="5327788"/>
            <a:ext cx="12192000" cy="1147958"/>
          </a:xfrm>
          <a:prstGeom prst="rect">
            <a:avLst/>
          </a:prstGeom>
          <a:solidFill>
            <a:schemeClr val="bg1"/>
          </a:solidFill>
          <a:ln w="28575">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27" name="Graphic 26" descr="Person with idea with solid fill">
            <a:extLst>
              <a:ext uri="{FF2B5EF4-FFF2-40B4-BE49-F238E27FC236}">
                <a16:creationId xmlns:a16="http://schemas.microsoft.com/office/drawing/2014/main" id="{EB0D9072-5322-461E-A026-E09B37E736A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81325" y="5444567"/>
            <a:ext cx="914400" cy="914400"/>
          </a:xfrm>
          <a:prstGeom prst="rect">
            <a:avLst/>
          </a:prstGeom>
        </p:spPr>
      </p:pic>
      <p:sp>
        <p:nvSpPr>
          <p:cNvPr id="28" name="TextBox 27">
            <a:extLst>
              <a:ext uri="{FF2B5EF4-FFF2-40B4-BE49-F238E27FC236}">
                <a16:creationId xmlns:a16="http://schemas.microsoft.com/office/drawing/2014/main" id="{96E3D186-C56A-4512-8C0C-2FFC81E7487D}"/>
              </a:ext>
            </a:extLst>
          </p:cNvPr>
          <p:cNvSpPr txBox="1"/>
          <p:nvPr/>
        </p:nvSpPr>
        <p:spPr>
          <a:xfrm>
            <a:off x="2755864" y="5340942"/>
            <a:ext cx="8395480" cy="1121652"/>
          </a:xfrm>
          <a:prstGeom prst="rect">
            <a:avLst/>
          </a:prstGeom>
        </p:spPr>
        <p:txBody>
          <a:bodyPr vert="horz" wrap="square" lIns="91440" tIns="45720" rIns="91440" bIns="45720" rtlCol="0" anchor="ctr">
            <a:noAutofit/>
          </a:bodyPr>
          <a:lstStyle/>
          <a:p>
            <a:pPr marL="0" indent="0" algn="l">
              <a:buNone/>
            </a:pPr>
            <a:r>
              <a:rPr lang="nl-NL" sz="1800" b="1" i="1" noProof="0" dirty="0"/>
              <a:t>Hint: </a:t>
            </a:r>
            <a:r>
              <a:rPr lang="nl-NL" sz="1800" b="1" dirty="0"/>
              <a:t>Welke tussenstappen kan je onderscheiden om tot een antwoord op de hoofdvraag te komen? </a:t>
            </a:r>
          </a:p>
        </p:txBody>
      </p:sp>
      <p:sp>
        <p:nvSpPr>
          <p:cNvPr id="25" name="Oval 24">
            <a:extLst>
              <a:ext uri="{FF2B5EF4-FFF2-40B4-BE49-F238E27FC236}">
                <a16:creationId xmlns:a16="http://schemas.microsoft.com/office/drawing/2014/main" id="{4367C1BC-AB57-4767-A7A8-F5B25E89E43D}"/>
              </a:ext>
            </a:extLst>
          </p:cNvPr>
          <p:cNvSpPr/>
          <p:nvPr/>
        </p:nvSpPr>
        <p:spPr>
          <a:xfrm>
            <a:off x="10055499" y="36609"/>
            <a:ext cx="148708" cy="148708"/>
          </a:xfrm>
          <a:prstGeom prst="ellipse">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95C5C9"/>
              </a:solidFill>
              <a:effectLst/>
              <a:uLnTx/>
              <a:uFillTx/>
              <a:latin typeface="Corbel" panose="020B0503020204020204" pitchFamily="34" charset="0"/>
              <a:ea typeface="+mn-ea"/>
              <a:cs typeface="+mn-cs"/>
            </a:endParaRPr>
          </a:p>
        </p:txBody>
      </p:sp>
      <p:sp>
        <p:nvSpPr>
          <p:cNvPr id="29" name="TextBox 28">
            <a:extLst>
              <a:ext uri="{FF2B5EF4-FFF2-40B4-BE49-F238E27FC236}">
                <a16:creationId xmlns:a16="http://schemas.microsoft.com/office/drawing/2014/main" id="{8573207C-FDE2-4DEE-A66A-27C55C2EAC33}"/>
              </a:ext>
            </a:extLst>
          </p:cNvPr>
          <p:cNvSpPr txBox="1"/>
          <p:nvPr/>
        </p:nvSpPr>
        <p:spPr>
          <a:xfrm>
            <a:off x="10067055" y="40328"/>
            <a:ext cx="137154" cy="141270"/>
          </a:xfrm>
          <a:prstGeom prst="rect">
            <a:avLst/>
          </a:prstGeom>
        </p:spPr>
        <p:txBody>
          <a:bodyPr vert="horz" wrap="square" lIns="0" tIns="0" rIns="0" bIns="0" rtlCol="0" anchor="ctr">
            <a:noAutofit/>
          </a:bodyPr>
          <a:lstStyle/>
          <a:p>
            <a:pPr marL="0" indent="0" algn="ctr">
              <a:buNone/>
            </a:pPr>
            <a:r>
              <a:rPr lang="nl-NL" sz="1000" b="1" noProof="0" dirty="0">
                <a:solidFill>
                  <a:srgbClr val="95C5C9"/>
                </a:solidFill>
              </a:rPr>
              <a:t>1</a:t>
            </a:r>
            <a:endParaRPr lang="nl-NL" b="1" noProof="0" dirty="0">
              <a:solidFill>
                <a:srgbClr val="95C5C9"/>
              </a:solidFill>
            </a:endParaRPr>
          </a:p>
        </p:txBody>
      </p:sp>
      <p:sp>
        <p:nvSpPr>
          <p:cNvPr id="30" name="TextBox 29">
            <a:extLst>
              <a:ext uri="{FF2B5EF4-FFF2-40B4-BE49-F238E27FC236}">
                <a16:creationId xmlns:a16="http://schemas.microsoft.com/office/drawing/2014/main" id="{747C7746-D851-469F-B97C-E137C75B1B6B}"/>
              </a:ext>
            </a:extLst>
          </p:cNvPr>
          <p:cNvSpPr txBox="1"/>
          <p:nvPr/>
        </p:nvSpPr>
        <p:spPr>
          <a:xfrm>
            <a:off x="10256482"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2</a:t>
            </a:r>
          </a:p>
        </p:txBody>
      </p:sp>
      <p:sp>
        <p:nvSpPr>
          <p:cNvPr id="31" name="TextBox 30">
            <a:extLst>
              <a:ext uri="{FF2B5EF4-FFF2-40B4-BE49-F238E27FC236}">
                <a16:creationId xmlns:a16="http://schemas.microsoft.com/office/drawing/2014/main" id="{4920205E-A6C4-4B1D-AB42-D50461687A0A}"/>
              </a:ext>
            </a:extLst>
          </p:cNvPr>
          <p:cNvSpPr txBox="1"/>
          <p:nvPr/>
        </p:nvSpPr>
        <p:spPr>
          <a:xfrm>
            <a:off x="10445909"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3</a:t>
            </a:r>
          </a:p>
        </p:txBody>
      </p:sp>
      <p:sp>
        <p:nvSpPr>
          <p:cNvPr id="33" name="TextBox 32">
            <a:extLst>
              <a:ext uri="{FF2B5EF4-FFF2-40B4-BE49-F238E27FC236}">
                <a16:creationId xmlns:a16="http://schemas.microsoft.com/office/drawing/2014/main" id="{2563A4A6-B937-4FDA-B9F8-99D6D8531D0C}"/>
              </a:ext>
            </a:extLst>
          </p:cNvPr>
          <p:cNvSpPr txBox="1"/>
          <p:nvPr/>
        </p:nvSpPr>
        <p:spPr>
          <a:xfrm>
            <a:off x="10635336"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4</a:t>
            </a:r>
            <a:endParaRPr lang="nl-NL" noProof="0" dirty="0">
              <a:solidFill>
                <a:srgbClr val="95C5C9"/>
              </a:solidFill>
            </a:endParaRPr>
          </a:p>
        </p:txBody>
      </p:sp>
      <p:sp>
        <p:nvSpPr>
          <p:cNvPr id="34" name="TextBox 33">
            <a:extLst>
              <a:ext uri="{FF2B5EF4-FFF2-40B4-BE49-F238E27FC236}">
                <a16:creationId xmlns:a16="http://schemas.microsoft.com/office/drawing/2014/main" id="{15AD8BE3-F3D3-408E-8C5B-9B3E87338B00}"/>
              </a:ext>
            </a:extLst>
          </p:cNvPr>
          <p:cNvSpPr txBox="1"/>
          <p:nvPr/>
        </p:nvSpPr>
        <p:spPr>
          <a:xfrm>
            <a:off x="10824763"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5</a:t>
            </a:r>
            <a:endParaRPr lang="nl-NL" sz="1000" noProof="0" dirty="0">
              <a:solidFill>
                <a:srgbClr val="95C5C9"/>
              </a:solidFill>
            </a:endParaRPr>
          </a:p>
        </p:txBody>
      </p:sp>
      <p:sp>
        <p:nvSpPr>
          <p:cNvPr id="35" name="TextBox 34">
            <a:extLst>
              <a:ext uri="{FF2B5EF4-FFF2-40B4-BE49-F238E27FC236}">
                <a16:creationId xmlns:a16="http://schemas.microsoft.com/office/drawing/2014/main" id="{8FA5ED70-1D52-41A3-AE77-42530C81101C}"/>
              </a:ext>
            </a:extLst>
          </p:cNvPr>
          <p:cNvSpPr txBox="1"/>
          <p:nvPr/>
        </p:nvSpPr>
        <p:spPr>
          <a:xfrm>
            <a:off x="11014190"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6</a:t>
            </a:r>
          </a:p>
        </p:txBody>
      </p:sp>
      <p:sp>
        <p:nvSpPr>
          <p:cNvPr id="36" name="TextBox 35">
            <a:extLst>
              <a:ext uri="{FF2B5EF4-FFF2-40B4-BE49-F238E27FC236}">
                <a16:creationId xmlns:a16="http://schemas.microsoft.com/office/drawing/2014/main" id="{65240A92-B980-461D-A97E-7BFE5F655ABB}"/>
              </a:ext>
            </a:extLst>
          </p:cNvPr>
          <p:cNvSpPr txBox="1"/>
          <p:nvPr/>
        </p:nvSpPr>
        <p:spPr>
          <a:xfrm>
            <a:off x="11203617"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7</a:t>
            </a:r>
            <a:endParaRPr lang="nl-NL" sz="1000" noProof="0" dirty="0">
              <a:solidFill>
                <a:srgbClr val="95C5C9"/>
              </a:solidFill>
            </a:endParaRPr>
          </a:p>
        </p:txBody>
      </p:sp>
    </p:spTree>
    <p:extLst>
      <p:ext uri="{BB962C8B-B14F-4D97-AF65-F5344CB8AC3E}">
        <p14:creationId xmlns:p14="http://schemas.microsoft.com/office/powerpoint/2010/main" val="36440813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ABE98B0-3C8A-43C8-8200-5975A1E67A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6"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CABE98B0-3C8A-43C8-8200-5975A1E67A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B7005C69-C8D5-4CD2-A222-DB83596ED306}"/>
              </a:ext>
            </a:extLst>
          </p:cNvPr>
          <p:cNvSpPr>
            <a:spLocks noGrp="1"/>
          </p:cNvSpPr>
          <p:nvPr>
            <p:ph type="ftr" sz="quarter" idx="3"/>
          </p:nvPr>
        </p:nvSpPr>
        <p:spPr/>
        <p:txBody>
          <a:bodyPr/>
          <a:lstStyle/>
          <a:p>
            <a:r>
              <a:rPr lang="nl-NL" noProof="0"/>
              <a:t>Bron: </a:t>
            </a:r>
          </a:p>
        </p:txBody>
      </p:sp>
      <p:sp>
        <p:nvSpPr>
          <p:cNvPr id="5" name="Slide Number Placeholder 4">
            <a:extLst>
              <a:ext uri="{FF2B5EF4-FFF2-40B4-BE49-F238E27FC236}">
                <a16:creationId xmlns:a16="http://schemas.microsoft.com/office/drawing/2014/main" id="{884FD416-CB43-4A83-8EDE-DF8450D7AC65}"/>
              </a:ext>
            </a:extLst>
          </p:cNvPr>
          <p:cNvSpPr>
            <a:spLocks noGrp="1"/>
          </p:cNvSpPr>
          <p:nvPr>
            <p:ph type="sldNum" sz="quarter" idx="12"/>
          </p:nvPr>
        </p:nvSpPr>
        <p:spPr/>
        <p:txBody>
          <a:bodyPr/>
          <a:lstStyle/>
          <a:p>
            <a:fld id="{992CD0B2-8AB2-4C6C-8876-E15753662C9B}" type="slidenum">
              <a:rPr lang="nl-NL" noProof="0" smtClean="0"/>
              <a:pPr/>
              <a:t>12</a:t>
            </a:fld>
            <a:endParaRPr lang="nl-NL" noProof="0"/>
          </a:p>
        </p:txBody>
      </p:sp>
      <p:sp>
        <p:nvSpPr>
          <p:cNvPr id="30" name="Text Placeholder 5">
            <a:extLst>
              <a:ext uri="{FF2B5EF4-FFF2-40B4-BE49-F238E27FC236}">
                <a16:creationId xmlns:a16="http://schemas.microsoft.com/office/drawing/2014/main" id="{7347DDFB-778D-40B7-AB84-CA2BD033379C}"/>
              </a:ext>
            </a:extLst>
          </p:cNvPr>
          <p:cNvSpPr txBox="1">
            <a:spLocks/>
          </p:cNvSpPr>
          <p:nvPr/>
        </p:nvSpPr>
        <p:spPr>
          <a:xfrm>
            <a:off x="6031346" y="3673659"/>
            <a:ext cx="5511554" cy="2635066"/>
          </a:xfrm>
          <a:prstGeom prst="rect">
            <a:avLst/>
          </a:prstGeom>
          <a:solidFill>
            <a:schemeClr val="bg1"/>
          </a:solidFill>
          <a:ln>
            <a:solidFill>
              <a:schemeClr val="bg1">
                <a:lumMod val="85000"/>
              </a:schemeClr>
            </a:solidFill>
          </a:ln>
        </p:spPr>
        <p:txBody>
          <a:bodyPr vert="horz" lIns="54000" tIns="72000" rIns="54000" bIns="72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t>Hoe zou een onvoldoende antwoord eruit zien?</a:t>
            </a:r>
            <a:br>
              <a:rPr lang="nl-NL" sz="1200" dirty="0"/>
            </a:br>
            <a:r>
              <a:rPr lang="nl-NL" sz="1200" b="0" dirty="0"/>
              <a:t>“Het lerarentekort in Amsterdam, interessant. Ja Amsterdam is natuurlijk een dure stad dus ik denk dat er nog maar weinig leraren wonen. En ik las laatst ook dat het lerarenberoep steeds minder aanzien heeft dus er minder mensen kiezen voor het vak. Niet gek dus dat Amsterdam te weinig leraren heeft, we zullen deze oorzaken moeten aanpakken om te zorgen dat Amsterdam weer meer leerkrachten aantrekt. Ik heb verschillende ideeën over hoe we dat kunnen doen, zal ik die uiteenzetten?”</a:t>
            </a:r>
          </a:p>
          <a:p>
            <a:endParaRPr lang="nl-NL" sz="1200" b="0" dirty="0"/>
          </a:p>
          <a:p>
            <a:r>
              <a:rPr lang="nl-NL" sz="1200" dirty="0"/>
              <a:t>Wat kan hier beter?</a:t>
            </a:r>
          </a:p>
          <a:p>
            <a:pPr marL="171450" indent="-171450">
              <a:buFont typeface="Wingdings" panose="05000000000000000000" pitchFamily="2" charset="2"/>
              <a:buChar char="§"/>
            </a:pPr>
            <a:r>
              <a:rPr lang="nl-NL" sz="1200" b="0" dirty="0"/>
              <a:t>Structuur is beperkt</a:t>
            </a:r>
          </a:p>
          <a:p>
            <a:pPr marL="171450" indent="-171450">
              <a:buFont typeface="Wingdings" panose="05000000000000000000" pitchFamily="2" charset="2"/>
              <a:buChar char="§"/>
            </a:pPr>
            <a:r>
              <a:rPr lang="nl-NL" sz="1200" b="0" dirty="0"/>
              <a:t>Gaat te snel over naar oplossingen voordat het probleem is geanalyseerd</a:t>
            </a:r>
          </a:p>
        </p:txBody>
      </p:sp>
      <p:sp>
        <p:nvSpPr>
          <p:cNvPr id="8" name="Text Placeholder 5">
            <a:extLst>
              <a:ext uri="{FF2B5EF4-FFF2-40B4-BE49-F238E27FC236}">
                <a16:creationId xmlns:a16="http://schemas.microsoft.com/office/drawing/2014/main" id="{590D4113-C0B4-44C6-867B-45E0549FB90F}"/>
              </a:ext>
            </a:extLst>
          </p:cNvPr>
          <p:cNvSpPr txBox="1">
            <a:spLocks/>
          </p:cNvSpPr>
          <p:nvPr/>
        </p:nvSpPr>
        <p:spPr>
          <a:xfrm>
            <a:off x="2952749" y="545413"/>
            <a:ext cx="8577451" cy="3053212"/>
          </a:xfrm>
          <a:prstGeom prst="rect">
            <a:avLst/>
          </a:prstGeom>
          <a:solidFill>
            <a:schemeClr val="bg1">
              <a:lumMod val="95000"/>
            </a:schemeClr>
          </a:solidFill>
          <a:ln>
            <a:solidFill>
              <a:srgbClr val="22777B"/>
            </a:solidFill>
          </a:ln>
        </p:spPr>
        <p:txBody>
          <a:bodyPr vert="horz" lIns="72000" tIns="72000" rIns="72000" bIns="72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t>Excellent antwoord</a:t>
            </a:r>
            <a:br>
              <a:rPr lang="nl-NL" sz="1200" dirty="0"/>
            </a:br>
            <a:r>
              <a:rPr lang="nl-NL" sz="1200" b="0" dirty="0"/>
              <a:t>Dank voor de vraag, begrijp ik het goed dat de wethouder van gemeente Amsterdam ons gevraagd heeft om het lerarentekort in Amsterdam te analyseren, of is er nog een aanvullende vraag? [</a:t>
            </a:r>
            <a:r>
              <a:rPr lang="nl-NL" sz="1200" b="0" i="1" dirty="0"/>
              <a:t>interviewer: Nee die is er niet</a:t>
            </a:r>
            <a:r>
              <a:rPr lang="nl-NL" sz="1200" b="0" dirty="0"/>
              <a:t>] Oké, mag ik even de tijd nemen om mijn gedachten te structuren </a:t>
            </a:r>
            <a:r>
              <a:rPr lang="nl-NL" sz="1200" b="0" i="1" dirty="0"/>
              <a:t>[interviewer: tuurlijk, ga je gang]</a:t>
            </a:r>
            <a:r>
              <a:rPr lang="nl-NL" sz="1200" b="0" dirty="0"/>
              <a:t>. Ik zou deze vraag graag willen opsplitsen in drie deelvragen:</a:t>
            </a:r>
          </a:p>
          <a:p>
            <a:pPr marL="180000" marR="0" lvl="0" indent="-180000" algn="l" defTabSz="685800" rtl="0" eaLnBrk="1" fontAlgn="auto" latinLnBrk="0" hangingPunct="1">
              <a:lnSpc>
                <a:spcPct val="90000"/>
              </a:lnSpc>
              <a:spcBef>
                <a:spcPts val="375"/>
              </a:spcBef>
              <a:spcAft>
                <a:spcPts val="0"/>
              </a:spcAft>
              <a:buClr>
                <a:srgbClr val="22777B"/>
              </a:buClr>
              <a:buSzTx/>
              <a:buFont typeface="Wingdings" panose="05000000000000000000" pitchFamily="2" charset="2"/>
              <a:buChar char="§"/>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Waardoor ontstaat het lerarentekort? </a:t>
            </a:r>
            <a:r>
              <a:rPr lang="nl-NL" sz="1200" b="0" dirty="0"/>
              <a:t>Ik zou hier graag zowel naar het aanbod als de vraag naar leerkrachten willen kijken.</a:t>
            </a:r>
            <a:endPar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180000" marR="0" lvl="0" indent="-180000" algn="l" defTabSz="685800" rtl="0" eaLnBrk="1" fontAlgn="auto" latinLnBrk="0" hangingPunct="1">
              <a:lnSpc>
                <a:spcPct val="90000"/>
              </a:lnSpc>
              <a:spcBef>
                <a:spcPts val="375"/>
              </a:spcBef>
              <a:spcAft>
                <a:spcPts val="0"/>
              </a:spcAft>
              <a:buClr>
                <a:srgbClr val="22777B"/>
              </a:buClr>
              <a:buSzTx/>
              <a:buFont typeface="Wingdings" panose="05000000000000000000" pitchFamily="2" charset="2"/>
              <a:buChar char="§"/>
              <a:tabLst/>
              <a:defRPr/>
            </a:pPr>
            <a:r>
              <a:rPr lang="nl-NL" sz="1200" b="0" dirty="0"/>
              <a:t>Waarom is het lerarentekort nijpender in Amsterdam dan in overige gemeenten?</a:t>
            </a:r>
          </a:p>
          <a:p>
            <a:pPr marL="180000" marR="0" lvl="0" indent="-180000" algn="l" defTabSz="685800" rtl="0" eaLnBrk="1" fontAlgn="auto" latinLnBrk="0" hangingPunct="1">
              <a:lnSpc>
                <a:spcPct val="90000"/>
              </a:lnSpc>
              <a:spcBef>
                <a:spcPts val="375"/>
              </a:spcBef>
              <a:spcAft>
                <a:spcPts val="0"/>
              </a:spcAft>
              <a:buClr>
                <a:srgbClr val="22777B"/>
              </a:buClr>
              <a:buSzTx/>
              <a:buFont typeface="Wingdings" panose="05000000000000000000" pitchFamily="2" charset="2"/>
              <a:buChar char="§"/>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Wat zijn mogelijkheden voor de gemeente om het lerarentekort te addresseren?</a:t>
            </a:r>
          </a:p>
          <a:p>
            <a:pPr marR="0" lvl="0" algn="l" defTabSz="685800" rtl="0" eaLnBrk="1" fontAlgn="auto" latinLnBrk="0" hangingPunct="1">
              <a:lnSpc>
                <a:spcPct val="90000"/>
              </a:lnSpc>
              <a:spcBef>
                <a:spcPts val="375"/>
              </a:spcBef>
              <a:spcAft>
                <a:spcPts val="0"/>
              </a:spcAft>
              <a:buClr>
                <a:srgbClr val="22777B"/>
              </a:buClr>
              <a:buSzTx/>
              <a:tabLst/>
              <a:defRPr/>
            </a:pPr>
            <a:r>
              <a:rPr lang="nl-NL" sz="1200" b="0" dirty="0"/>
              <a:t>Ik stel voor om te beginnen met het begrijpen van het lerarentekort, zal ik die vraag verder uitwerken?</a:t>
            </a:r>
          </a:p>
          <a:p>
            <a:endParaRPr lang="nl-NL" sz="1200" b="0" dirty="0"/>
          </a:p>
          <a:p>
            <a:endParaRPr lang="nl-NL" sz="1200" b="0" dirty="0"/>
          </a:p>
        </p:txBody>
      </p:sp>
      <p:sp>
        <p:nvSpPr>
          <p:cNvPr id="15" name="Text Placeholder 5">
            <a:extLst>
              <a:ext uri="{FF2B5EF4-FFF2-40B4-BE49-F238E27FC236}">
                <a16:creationId xmlns:a16="http://schemas.microsoft.com/office/drawing/2014/main" id="{D810EC08-28BB-4468-B85E-E1A870DBD8DF}"/>
              </a:ext>
            </a:extLst>
          </p:cNvPr>
          <p:cNvSpPr txBox="1">
            <a:spLocks/>
          </p:cNvSpPr>
          <p:nvPr/>
        </p:nvSpPr>
        <p:spPr>
          <a:xfrm>
            <a:off x="2952750" y="3673659"/>
            <a:ext cx="3078596" cy="2635066"/>
          </a:xfrm>
          <a:prstGeom prst="rect">
            <a:avLst/>
          </a:prstGeom>
          <a:solidFill>
            <a:schemeClr val="bg1"/>
          </a:solidFill>
          <a:ln>
            <a:solidFill>
              <a:schemeClr val="bg1">
                <a:lumMod val="85000"/>
              </a:schemeClr>
            </a:solidFill>
          </a:ln>
        </p:spPr>
        <p:txBody>
          <a:bodyPr vert="horz" lIns="54000" tIns="72000" rIns="54000" bIns="72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t>Wat maakt dit antwoord goed?</a:t>
            </a:r>
          </a:p>
          <a:p>
            <a:pPr marL="171450" indent="-171450">
              <a:buClr>
                <a:schemeClr val="tx2"/>
              </a:buClr>
              <a:buFont typeface="Wingdings" panose="05000000000000000000" pitchFamily="2" charset="2"/>
              <a:buChar char="ü"/>
            </a:pPr>
            <a:r>
              <a:rPr lang="nl-NL" sz="1200" b="0" dirty="0"/>
              <a:t>Je controleert in het begin of je de vraagstelling hebt begrepen</a:t>
            </a:r>
          </a:p>
          <a:p>
            <a:pPr marL="171450" indent="-171450">
              <a:buClr>
                <a:schemeClr val="tx2"/>
              </a:buClr>
              <a:buFont typeface="Wingdings" panose="05000000000000000000" pitchFamily="2" charset="2"/>
              <a:buChar char="ü"/>
            </a:pPr>
            <a:r>
              <a:rPr lang="nl-NL" sz="1200" b="0" dirty="0"/>
              <a:t>Gedachten duidelijk gestructureerd</a:t>
            </a:r>
          </a:p>
          <a:p>
            <a:pPr marL="171450" indent="-171450">
              <a:buClr>
                <a:schemeClr val="tx2"/>
              </a:buClr>
              <a:buFont typeface="Wingdings" panose="05000000000000000000" pitchFamily="2" charset="2"/>
              <a:buChar char="ü"/>
            </a:pPr>
            <a:r>
              <a:rPr lang="nl-NL" sz="1200" b="0" dirty="0"/>
              <a:t>Alleen de belangrijkste vragen worden gesteld</a:t>
            </a:r>
          </a:p>
          <a:p>
            <a:pPr marL="171450" indent="-171450">
              <a:buClr>
                <a:schemeClr val="tx2"/>
              </a:buClr>
              <a:buFont typeface="Wingdings" panose="05000000000000000000" pitchFamily="2" charset="2"/>
              <a:buChar char="ü"/>
            </a:pPr>
            <a:r>
              <a:rPr lang="nl-NL" sz="1200" b="0" dirty="0"/>
              <a:t>Tijd vragen als je deze nodig hebt</a:t>
            </a:r>
          </a:p>
          <a:p>
            <a:pPr marL="171450" indent="-171450">
              <a:buClr>
                <a:schemeClr val="tx2"/>
              </a:buClr>
              <a:buFont typeface="Wingdings" panose="05000000000000000000" pitchFamily="2" charset="2"/>
              <a:buChar char="ü"/>
            </a:pPr>
            <a:r>
              <a:rPr lang="nl-NL" sz="1200" b="0" dirty="0"/>
              <a:t>Inchecken bij interviewer of je op de goede weg zit</a:t>
            </a:r>
          </a:p>
          <a:p>
            <a:pPr marL="171450" indent="-171450">
              <a:buClr>
                <a:schemeClr val="tx2"/>
              </a:buClr>
              <a:buFont typeface="Wingdings" panose="05000000000000000000" pitchFamily="2" charset="2"/>
              <a:buChar char="§"/>
            </a:pPr>
            <a:endParaRPr lang="nl-NL" sz="1200" b="0" dirty="0"/>
          </a:p>
          <a:p>
            <a:pPr>
              <a:buClr>
                <a:schemeClr val="tx2"/>
              </a:buClr>
            </a:pPr>
            <a:endParaRPr lang="nl-NL" sz="1200" b="0" dirty="0"/>
          </a:p>
          <a:p>
            <a:pPr>
              <a:buClr>
                <a:schemeClr val="tx2"/>
              </a:buClr>
            </a:pPr>
            <a:endParaRPr lang="nl-NL" sz="1200" b="0" dirty="0"/>
          </a:p>
        </p:txBody>
      </p:sp>
      <p:pic>
        <p:nvPicPr>
          <p:cNvPr id="61442" name="Picture 2">
            <a:extLst>
              <a:ext uri="{FF2B5EF4-FFF2-40B4-BE49-F238E27FC236}">
                <a16:creationId xmlns:a16="http://schemas.microsoft.com/office/drawing/2014/main" id="{F31421FC-687C-4775-BBCA-9AC90E0C78E6}"/>
              </a:ext>
            </a:extLst>
          </p:cNvPr>
          <p:cNvPicPr>
            <a:picLocks noChangeAspect="1" noChangeArrowheads="1"/>
          </p:cNvPicPr>
          <p:nvPr/>
        </p:nvPicPr>
        <p:blipFill>
          <a:blip r:embed="rId6" cstate="hqprint">
            <a:extLst>
              <a:ext uri="{28A0092B-C50C-407E-A947-70E740481C1C}">
                <a14:useLocalDpi xmlns:a14="http://schemas.microsoft.com/office/drawing/2010/main"/>
              </a:ext>
            </a:extLst>
          </a:blip>
          <a:srcRect l="38477" r="38477"/>
          <a:stretch/>
        </p:blipFill>
        <p:spPr bwMode="auto">
          <a:xfrm>
            <a:off x="0" y="0"/>
            <a:ext cx="28098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D85439E5-6E0C-4BFB-9E2A-FA280E638BDE}"/>
              </a:ext>
            </a:extLst>
          </p:cNvPr>
          <p:cNvSpPr/>
          <p:nvPr/>
        </p:nvSpPr>
        <p:spPr>
          <a:xfrm>
            <a:off x="0" y="-8800"/>
            <a:ext cx="2809875" cy="6866800"/>
          </a:xfrm>
          <a:prstGeom prst="rect">
            <a:avLst/>
          </a:prstGeom>
          <a:solidFill>
            <a:schemeClr val="bg1">
              <a:lumMod val="95000"/>
              <a:alpha val="88000"/>
            </a:schemeClr>
          </a:solidFill>
          <a:ln>
            <a:noFill/>
          </a:ln>
        </p:spPr>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0" indent="0">
              <a:lnSpc>
                <a:spcPct val="100000"/>
              </a:lnSpc>
              <a:buNone/>
            </a:pPr>
            <a:r>
              <a:rPr lang="nl-NL" sz="2800" b="1" dirty="0">
                <a:solidFill>
                  <a:srgbClr val="22777B"/>
                </a:solidFill>
              </a:rPr>
              <a:t>Vraag 1</a:t>
            </a:r>
          </a:p>
          <a:p>
            <a:pPr marL="0" indent="0">
              <a:lnSpc>
                <a:spcPct val="100000"/>
              </a:lnSpc>
              <a:buNone/>
            </a:pPr>
            <a:br>
              <a:rPr lang="nl-NL" sz="1400" b="1" dirty="0">
                <a:solidFill>
                  <a:srgbClr val="FFFFFF"/>
                </a:solidFill>
              </a:rPr>
            </a:br>
            <a:r>
              <a:rPr lang="nl-NL" sz="1200" dirty="0"/>
              <a:t>Na afloop van een meeting op het stadhuis sprak ik nog kort met de wethouder onderwijs van gemeente Amsterdam. Ze gaf me aan dat het lerarentekort in Amsterdam steeds nijpender wordt; van alle kanten komen signalen dat basisscholen problemen hebben met het vinden van leerkrachten. Toch is het probleem nog steeds onduidelijk, en ook is het onbekend waarom het probleem nu zo anders is dan in overige gemeenten. Ze vraagt ons om eens kort een blik te werpen op de problematiek en na te denken over wat ze mogelijk kan doen om het tekort te adresseren.</a:t>
            </a:r>
          </a:p>
          <a:p>
            <a:pPr>
              <a:lnSpc>
                <a:spcPct val="100000"/>
              </a:lnSpc>
            </a:pPr>
            <a:endParaRPr lang="nl-NL" sz="1200" dirty="0"/>
          </a:p>
          <a:p>
            <a:pPr marL="0" indent="0">
              <a:lnSpc>
                <a:spcPct val="100000"/>
              </a:lnSpc>
              <a:buNone/>
            </a:pPr>
            <a:r>
              <a:rPr lang="nl-NL" sz="1200" dirty="0"/>
              <a:t>Met welke structuur zouden we het probleem kunnen onderzoeken zodat we daarna met onze eerste hypotheses terug kunnen komen bij de wethouder. Hoe begin je?</a:t>
            </a:r>
          </a:p>
          <a:p>
            <a:pPr algn="ctr">
              <a:lnSpc>
                <a:spcPct val="100000"/>
              </a:lnSpc>
              <a:buClr>
                <a:schemeClr val="tx2"/>
              </a:buClr>
            </a:pP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grpSp>
        <p:nvGrpSpPr>
          <p:cNvPr id="21" name="Group 20">
            <a:extLst>
              <a:ext uri="{FF2B5EF4-FFF2-40B4-BE49-F238E27FC236}">
                <a16:creationId xmlns:a16="http://schemas.microsoft.com/office/drawing/2014/main" id="{C5578B65-C922-42B5-B58E-017E05320628}"/>
              </a:ext>
            </a:extLst>
          </p:cNvPr>
          <p:cNvGrpSpPr/>
          <p:nvPr/>
        </p:nvGrpSpPr>
        <p:grpSpPr>
          <a:xfrm>
            <a:off x="1444733" y="241300"/>
            <a:ext cx="504420" cy="348414"/>
            <a:chOff x="2836863" y="3201988"/>
            <a:chExt cx="2001837" cy="1382712"/>
          </a:xfrm>
          <a:solidFill>
            <a:srgbClr val="22777B"/>
          </a:solidFill>
        </p:grpSpPr>
        <p:sp>
          <p:nvSpPr>
            <p:cNvPr id="22" name="Freeform 1">
              <a:extLst>
                <a:ext uri="{FF2B5EF4-FFF2-40B4-BE49-F238E27FC236}">
                  <a16:creationId xmlns:a16="http://schemas.microsoft.com/office/drawing/2014/main" id="{3B7896AF-670D-49F2-865F-D697DA861715}"/>
                </a:ext>
              </a:extLst>
            </p:cNvPr>
            <p:cNvSpPr>
              <a:spLocks noChangeArrowheads="1"/>
            </p:cNvSpPr>
            <p:nvPr/>
          </p:nvSpPr>
          <p:spPr bwMode="auto">
            <a:xfrm>
              <a:off x="2870200" y="3246438"/>
              <a:ext cx="1450975" cy="1247775"/>
            </a:xfrm>
            <a:custGeom>
              <a:avLst/>
              <a:gdLst>
                <a:gd name="T0" fmla="*/ 3625 w 4032"/>
                <a:gd name="T1" fmla="*/ 593 h 3468"/>
                <a:gd name="T2" fmla="*/ 3625 w 4032"/>
                <a:gd name="T3" fmla="*/ 593 h 3468"/>
                <a:gd name="T4" fmla="*/ 2000 w 4032"/>
                <a:gd name="T5" fmla="*/ 0 h 3468"/>
                <a:gd name="T6" fmla="*/ 593 w 4032"/>
                <a:gd name="T7" fmla="*/ 468 h 3468"/>
                <a:gd name="T8" fmla="*/ 593 w 4032"/>
                <a:gd name="T9" fmla="*/ 468 h 3468"/>
                <a:gd name="T10" fmla="*/ 31 w 4032"/>
                <a:gd name="T11" fmla="*/ 1531 h 3468"/>
                <a:gd name="T12" fmla="*/ 593 w 4032"/>
                <a:gd name="T13" fmla="*/ 2592 h 3468"/>
                <a:gd name="T14" fmla="*/ 500 w 4032"/>
                <a:gd name="T15" fmla="*/ 3374 h 3468"/>
                <a:gd name="T16" fmla="*/ 406 w 4032"/>
                <a:gd name="T17" fmla="*/ 3467 h 3468"/>
                <a:gd name="T18" fmla="*/ 531 w 4032"/>
                <a:gd name="T19" fmla="*/ 3467 h 3468"/>
                <a:gd name="T20" fmla="*/ 1343 w 4032"/>
                <a:gd name="T21" fmla="*/ 2967 h 3468"/>
                <a:gd name="T22" fmla="*/ 2093 w 4032"/>
                <a:gd name="T23" fmla="*/ 3030 h 3468"/>
                <a:gd name="T24" fmla="*/ 3531 w 4032"/>
                <a:gd name="T25" fmla="*/ 2592 h 3468"/>
                <a:gd name="T26" fmla="*/ 4031 w 4032"/>
                <a:gd name="T27" fmla="*/ 1531 h 3468"/>
                <a:gd name="T28" fmla="*/ 3625 w 4032"/>
                <a:gd name="T29" fmla="*/ 593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2" h="3468">
                  <a:moveTo>
                    <a:pt x="3625" y="593"/>
                  </a:moveTo>
                  <a:lnTo>
                    <a:pt x="3625" y="593"/>
                  </a:lnTo>
                  <a:cubicBezTo>
                    <a:pt x="3250" y="218"/>
                    <a:pt x="2625" y="0"/>
                    <a:pt x="2000" y="0"/>
                  </a:cubicBezTo>
                  <a:cubicBezTo>
                    <a:pt x="1468" y="0"/>
                    <a:pt x="1000" y="156"/>
                    <a:pt x="593" y="468"/>
                  </a:cubicBezTo>
                  <a:lnTo>
                    <a:pt x="593" y="468"/>
                  </a:lnTo>
                  <a:cubicBezTo>
                    <a:pt x="218" y="781"/>
                    <a:pt x="0" y="1156"/>
                    <a:pt x="31" y="1531"/>
                  </a:cubicBezTo>
                  <a:cubicBezTo>
                    <a:pt x="62" y="2217"/>
                    <a:pt x="500" y="2530"/>
                    <a:pt x="593" y="2592"/>
                  </a:cubicBezTo>
                  <a:cubicBezTo>
                    <a:pt x="625" y="2717"/>
                    <a:pt x="687" y="3092"/>
                    <a:pt x="500" y="3374"/>
                  </a:cubicBezTo>
                  <a:cubicBezTo>
                    <a:pt x="406" y="3467"/>
                    <a:pt x="406" y="3467"/>
                    <a:pt x="406" y="3467"/>
                  </a:cubicBezTo>
                  <a:cubicBezTo>
                    <a:pt x="531" y="3467"/>
                    <a:pt x="531" y="3467"/>
                    <a:pt x="531" y="3467"/>
                  </a:cubicBezTo>
                  <a:cubicBezTo>
                    <a:pt x="1000" y="3436"/>
                    <a:pt x="1281" y="3092"/>
                    <a:pt x="1343" y="2967"/>
                  </a:cubicBezTo>
                  <a:cubicBezTo>
                    <a:pt x="1437" y="2999"/>
                    <a:pt x="1718" y="3061"/>
                    <a:pt x="2093" y="3030"/>
                  </a:cubicBezTo>
                  <a:cubicBezTo>
                    <a:pt x="2656" y="3030"/>
                    <a:pt x="3156" y="2874"/>
                    <a:pt x="3531" y="2592"/>
                  </a:cubicBezTo>
                  <a:cubicBezTo>
                    <a:pt x="3843" y="2280"/>
                    <a:pt x="4031" y="1905"/>
                    <a:pt x="4031" y="1531"/>
                  </a:cubicBezTo>
                  <a:cubicBezTo>
                    <a:pt x="4031" y="1218"/>
                    <a:pt x="3906" y="906"/>
                    <a:pt x="3625" y="5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3" name="Freeform 2">
              <a:extLst>
                <a:ext uri="{FF2B5EF4-FFF2-40B4-BE49-F238E27FC236}">
                  <a16:creationId xmlns:a16="http://schemas.microsoft.com/office/drawing/2014/main" id="{CAD3F577-FAD4-4169-913E-31809A4FFBDC}"/>
                </a:ext>
              </a:extLst>
            </p:cNvPr>
            <p:cNvSpPr>
              <a:spLocks noChangeArrowheads="1"/>
            </p:cNvSpPr>
            <p:nvPr/>
          </p:nvSpPr>
          <p:spPr bwMode="auto">
            <a:xfrm>
              <a:off x="3983038" y="3201988"/>
              <a:ext cx="855662" cy="1338262"/>
            </a:xfrm>
            <a:custGeom>
              <a:avLst/>
              <a:gdLst>
                <a:gd name="T0" fmla="*/ 1781 w 2376"/>
                <a:gd name="T1" fmla="*/ 2811 h 3718"/>
                <a:gd name="T2" fmla="*/ 1781 w 2376"/>
                <a:gd name="T3" fmla="*/ 2811 h 3718"/>
                <a:gd name="T4" fmla="*/ 2375 w 2376"/>
                <a:gd name="T5" fmla="*/ 1687 h 3718"/>
                <a:gd name="T6" fmla="*/ 1750 w 2376"/>
                <a:gd name="T7" fmla="*/ 500 h 3718"/>
                <a:gd name="T8" fmla="*/ 282 w 2376"/>
                <a:gd name="T9" fmla="*/ 0 h 3718"/>
                <a:gd name="T10" fmla="*/ 0 w 2376"/>
                <a:gd name="T11" fmla="*/ 31 h 3718"/>
                <a:gd name="T12" fmla="*/ 782 w 2376"/>
                <a:gd name="T13" fmla="*/ 531 h 3718"/>
                <a:gd name="T14" fmla="*/ 1250 w 2376"/>
                <a:gd name="T15" fmla="*/ 1656 h 3718"/>
                <a:gd name="T16" fmla="*/ 625 w 2376"/>
                <a:gd name="T17" fmla="*/ 2905 h 3718"/>
                <a:gd name="T18" fmla="*/ 0 w 2376"/>
                <a:gd name="T19" fmla="*/ 3280 h 3718"/>
                <a:gd name="T20" fmla="*/ 875 w 2376"/>
                <a:gd name="T21" fmla="*/ 3249 h 3718"/>
                <a:gd name="T22" fmla="*/ 1938 w 2376"/>
                <a:gd name="T23" fmla="*/ 3717 h 3718"/>
                <a:gd name="T24" fmla="*/ 2219 w 2376"/>
                <a:gd name="T25" fmla="*/ 3717 h 3718"/>
                <a:gd name="T26" fmla="*/ 2032 w 2376"/>
                <a:gd name="T27" fmla="*/ 3530 h 3718"/>
                <a:gd name="T28" fmla="*/ 1781 w 2376"/>
                <a:gd name="T29" fmla="*/ 2811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6" h="3718">
                  <a:moveTo>
                    <a:pt x="1781" y="2811"/>
                  </a:moveTo>
                  <a:lnTo>
                    <a:pt x="1781" y="2811"/>
                  </a:lnTo>
                  <a:cubicBezTo>
                    <a:pt x="2157" y="2499"/>
                    <a:pt x="2375" y="2092"/>
                    <a:pt x="2375" y="1687"/>
                  </a:cubicBezTo>
                  <a:cubicBezTo>
                    <a:pt x="2375" y="1218"/>
                    <a:pt x="2188" y="812"/>
                    <a:pt x="1750" y="500"/>
                  </a:cubicBezTo>
                  <a:cubicBezTo>
                    <a:pt x="1344" y="187"/>
                    <a:pt x="844" y="0"/>
                    <a:pt x="282" y="0"/>
                  </a:cubicBezTo>
                  <a:cubicBezTo>
                    <a:pt x="188" y="0"/>
                    <a:pt x="94" y="0"/>
                    <a:pt x="0" y="31"/>
                  </a:cubicBezTo>
                  <a:cubicBezTo>
                    <a:pt x="282" y="125"/>
                    <a:pt x="563" y="312"/>
                    <a:pt x="782" y="531"/>
                  </a:cubicBezTo>
                  <a:cubicBezTo>
                    <a:pt x="1094" y="843"/>
                    <a:pt x="1250" y="1218"/>
                    <a:pt x="1250" y="1656"/>
                  </a:cubicBezTo>
                  <a:cubicBezTo>
                    <a:pt x="1250" y="2124"/>
                    <a:pt x="1032" y="2592"/>
                    <a:pt x="625" y="2905"/>
                  </a:cubicBezTo>
                  <a:cubicBezTo>
                    <a:pt x="438" y="3061"/>
                    <a:pt x="219" y="3186"/>
                    <a:pt x="0" y="3280"/>
                  </a:cubicBezTo>
                  <a:cubicBezTo>
                    <a:pt x="282" y="3311"/>
                    <a:pt x="563" y="3280"/>
                    <a:pt x="875" y="3249"/>
                  </a:cubicBezTo>
                  <a:cubicBezTo>
                    <a:pt x="1125" y="3561"/>
                    <a:pt x="1469" y="3717"/>
                    <a:pt x="1938" y="3717"/>
                  </a:cubicBezTo>
                  <a:cubicBezTo>
                    <a:pt x="2219" y="3717"/>
                    <a:pt x="2219" y="3717"/>
                    <a:pt x="2219" y="3717"/>
                  </a:cubicBezTo>
                  <a:cubicBezTo>
                    <a:pt x="2032" y="3530"/>
                    <a:pt x="2032" y="3530"/>
                    <a:pt x="2032" y="3530"/>
                  </a:cubicBezTo>
                  <a:cubicBezTo>
                    <a:pt x="1813" y="3311"/>
                    <a:pt x="1750" y="3092"/>
                    <a:pt x="1781" y="28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4" name="Freeform 3">
              <a:extLst>
                <a:ext uri="{FF2B5EF4-FFF2-40B4-BE49-F238E27FC236}">
                  <a16:creationId xmlns:a16="http://schemas.microsoft.com/office/drawing/2014/main" id="{8EDCAE06-9FA2-4B47-B181-6930B4A19E56}"/>
                </a:ext>
              </a:extLst>
            </p:cNvPr>
            <p:cNvSpPr>
              <a:spLocks noChangeArrowheads="1"/>
            </p:cNvSpPr>
            <p:nvPr/>
          </p:nvSpPr>
          <p:spPr bwMode="auto">
            <a:xfrm>
              <a:off x="2836863" y="3201988"/>
              <a:ext cx="1530350" cy="1382712"/>
            </a:xfrm>
            <a:custGeom>
              <a:avLst/>
              <a:gdLst>
                <a:gd name="T0" fmla="*/ 219 w 4251"/>
                <a:gd name="T1" fmla="*/ 3717 h 3843"/>
                <a:gd name="T2" fmla="*/ 219 w 4251"/>
                <a:gd name="T3" fmla="*/ 3717 h 3843"/>
                <a:gd name="T4" fmla="*/ 594 w 4251"/>
                <a:gd name="T5" fmla="*/ 2811 h 3843"/>
                <a:gd name="T6" fmla="*/ 0 w 4251"/>
                <a:gd name="T7" fmla="*/ 1656 h 3843"/>
                <a:gd name="T8" fmla="*/ 625 w 4251"/>
                <a:gd name="T9" fmla="*/ 500 h 3843"/>
                <a:gd name="T10" fmla="*/ 2094 w 4251"/>
                <a:gd name="T11" fmla="*/ 0 h 3843"/>
                <a:gd name="T12" fmla="*/ 2094 w 4251"/>
                <a:gd name="T13" fmla="*/ 0 h 3843"/>
                <a:gd name="T14" fmla="*/ 3781 w 4251"/>
                <a:gd name="T15" fmla="*/ 625 h 3843"/>
                <a:gd name="T16" fmla="*/ 4250 w 4251"/>
                <a:gd name="T17" fmla="*/ 1656 h 3843"/>
                <a:gd name="T18" fmla="*/ 3656 w 4251"/>
                <a:gd name="T19" fmla="*/ 2780 h 3843"/>
                <a:gd name="T20" fmla="*/ 1469 w 4251"/>
                <a:gd name="T21" fmla="*/ 3217 h 3843"/>
                <a:gd name="T22" fmla="*/ 219 w 4251"/>
                <a:gd name="T23" fmla="*/ 3717 h 3843"/>
                <a:gd name="T24" fmla="*/ 719 w 4251"/>
                <a:gd name="T25" fmla="*/ 625 h 3843"/>
                <a:gd name="T26" fmla="*/ 719 w 4251"/>
                <a:gd name="T27" fmla="*/ 625 h 3843"/>
                <a:gd name="T28" fmla="*/ 187 w 4251"/>
                <a:gd name="T29" fmla="*/ 1656 h 3843"/>
                <a:gd name="T30" fmla="*/ 750 w 4251"/>
                <a:gd name="T31" fmla="*/ 2686 h 3843"/>
                <a:gd name="T32" fmla="*/ 625 w 4251"/>
                <a:gd name="T33" fmla="*/ 3530 h 3843"/>
                <a:gd name="T34" fmla="*/ 1406 w 4251"/>
                <a:gd name="T35" fmla="*/ 3030 h 3843"/>
                <a:gd name="T36" fmla="*/ 3562 w 4251"/>
                <a:gd name="T37" fmla="*/ 2655 h 3843"/>
                <a:gd name="T38" fmla="*/ 4062 w 4251"/>
                <a:gd name="T39" fmla="*/ 1656 h 3843"/>
                <a:gd name="T40" fmla="*/ 3656 w 4251"/>
                <a:gd name="T41" fmla="*/ 750 h 3843"/>
                <a:gd name="T42" fmla="*/ 2094 w 4251"/>
                <a:gd name="T43" fmla="*/ 187 h 3843"/>
                <a:gd name="T44" fmla="*/ 719 w 4251"/>
                <a:gd name="T45" fmla="*/ 625 h 3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51" h="3843">
                  <a:moveTo>
                    <a:pt x="219" y="3717"/>
                  </a:moveTo>
                  <a:lnTo>
                    <a:pt x="219" y="3717"/>
                  </a:lnTo>
                  <a:cubicBezTo>
                    <a:pt x="219" y="3717"/>
                    <a:pt x="656" y="3342"/>
                    <a:pt x="594" y="2811"/>
                  </a:cubicBezTo>
                  <a:cubicBezTo>
                    <a:pt x="219" y="2499"/>
                    <a:pt x="0" y="2092"/>
                    <a:pt x="0" y="1656"/>
                  </a:cubicBezTo>
                  <a:cubicBezTo>
                    <a:pt x="0" y="1218"/>
                    <a:pt x="219" y="812"/>
                    <a:pt x="625" y="500"/>
                  </a:cubicBezTo>
                  <a:cubicBezTo>
                    <a:pt x="1031" y="187"/>
                    <a:pt x="1531" y="0"/>
                    <a:pt x="2094" y="0"/>
                  </a:cubicBezTo>
                  <a:lnTo>
                    <a:pt x="2094" y="0"/>
                  </a:lnTo>
                  <a:cubicBezTo>
                    <a:pt x="2781" y="0"/>
                    <a:pt x="3375" y="218"/>
                    <a:pt x="3781" y="625"/>
                  </a:cubicBezTo>
                  <a:cubicBezTo>
                    <a:pt x="4094" y="937"/>
                    <a:pt x="4250" y="1281"/>
                    <a:pt x="4250" y="1656"/>
                  </a:cubicBezTo>
                  <a:cubicBezTo>
                    <a:pt x="4250" y="2092"/>
                    <a:pt x="4031" y="2499"/>
                    <a:pt x="3656" y="2780"/>
                  </a:cubicBezTo>
                  <a:cubicBezTo>
                    <a:pt x="3125" y="3217"/>
                    <a:pt x="2344" y="3374"/>
                    <a:pt x="1469" y="3217"/>
                  </a:cubicBezTo>
                  <a:cubicBezTo>
                    <a:pt x="1125" y="3842"/>
                    <a:pt x="219" y="3717"/>
                    <a:pt x="219" y="3717"/>
                  </a:cubicBezTo>
                  <a:close/>
                  <a:moveTo>
                    <a:pt x="719" y="625"/>
                  </a:moveTo>
                  <a:lnTo>
                    <a:pt x="719" y="625"/>
                  </a:lnTo>
                  <a:cubicBezTo>
                    <a:pt x="375" y="906"/>
                    <a:pt x="156" y="1281"/>
                    <a:pt x="187" y="1656"/>
                  </a:cubicBezTo>
                  <a:cubicBezTo>
                    <a:pt x="219" y="2374"/>
                    <a:pt x="750" y="2686"/>
                    <a:pt x="750" y="2686"/>
                  </a:cubicBezTo>
                  <a:cubicBezTo>
                    <a:pt x="750" y="2686"/>
                    <a:pt x="875" y="3186"/>
                    <a:pt x="625" y="3530"/>
                  </a:cubicBezTo>
                  <a:cubicBezTo>
                    <a:pt x="1125" y="3499"/>
                    <a:pt x="1406" y="3030"/>
                    <a:pt x="1406" y="3030"/>
                  </a:cubicBezTo>
                  <a:cubicBezTo>
                    <a:pt x="1406" y="3030"/>
                    <a:pt x="2719" y="3342"/>
                    <a:pt x="3562" y="2655"/>
                  </a:cubicBezTo>
                  <a:cubicBezTo>
                    <a:pt x="3875" y="2374"/>
                    <a:pt x="4062" y="2030"/>
                    <a:pt x="4062" y="1656"/>
                  </a:cubicBezTo>
                  <a:cubicBezTo>
                    <a:pt x="4062" y="1312"/>
                    <a:pt x="3906" y="1031"/>
                    <a:pt x="3656" y="750"/>
                  </a:cubicBezTo>
                  <a:cubicBezTo>
                    <a:pt x="3281" y="375"/>
                    <a:pt x="2656" y="187"/>
                    <a:pt x="2094" y="187"/>
                  </a:cubicBezTo>
                  <a:cubicBezTo>
                    <a:pt x="1562" y="187"/>
                    <a:pt x="1094" y="343"/>
                    <a:pt x="719" y="62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17" name="Oval 16">
            <a:extLst>
              <a:ext uri="{FF2B5EF4-FFF2-40B4-BE49-F238E27FC236}">
                <a16:creationId xmlns:a16="http://schemas.microsoft.com/office/drawing/2014/main" id="{81CF0B15-F031-4AF7-B652-ABA92EA1C214}"/>
              </a:ext>
            </a:extLst>
          </p:cNvPr>
          <p:cNvSpPr/>
          <p:nvPr/>
        </p:nvSpPr>
        <p:spPr>
          <a:xfrm>
            <a:off x="10055499" y="36609"/>
            <a:ext cx="148708" cy="148708"/>
          </a:xfrm>
          <a:prstGeom prst="ellipse">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95C5C9"/>
              </a:solidFill>
              <a:effectLst/>
              <a:uLnTx/>
              <a:uFillTx/>
              <a:latin typeface="Corbel" panose="020B0503020204020204" pitchFamily="34" charset="0"/>
              <a:ea typeface="+mn-ea"/>
              <a:cs typeface="+mn-cs"/>
            </a:endParaRPr>
          </a:p>
        </p:txBody>
      </p:sp>
      <p:sp>
        <p:nvSpPr>
          <p:cNvPr id="18" name="TextBox 17">
            <a:extLst>
              <a:ext uri="{FF2B5EF4-FFF2-40B4-BE49-F238E27FC236}">
                <a16:creationId xmlns:a16="http://schemas.microsoft.com/office/drawing/2014/main" id="{54333A3E-F8F9-48B0-AA3F-8FF795166FC8}"/>
              </a:ext>
            </a:extLst>
          </p:cNvPr>
          <p:cNvSpPr txBox="1"/>
          <p:nvPr/>
        </p:nvSpPr>
        <p:spPr>
          <a:xfrm>
            <a:off x="10067055" y="40328"/>
            <a:ext cx="137154" cy="141270"/>
          </a:xfrm>
          <a:prstGeom prst="rect">
            <a:avLst/>
          </a:prstGeom>
        </p:spPr>
        <p:txBody>
          <a:bodyPr vert="horz" wrap="square" lIns="0" tIns="0" rIns="0" bIns="0" rtlCol="0" anchor="ctr">
            <a:noAutofit/>
          </a:bodyPr>
          <a:lstStyle/>
          <a:p>
            <a:pPr marL="0" indent="0" algn="ctr">
              <a:buNone/>
            </a:pPr>
            <a:r>
              <a:rPr lang="nl-NL" sz="1000" b="1" noProof="0" dirty="0">
                <a:solidFill>
                  <a:srgbClr val="95C5C9"/>
                </a:solidFill>
              </a:rPr>
              <a:t>1</a:t>
            </a:r>
            <a:endParaRPr lang="nl-NL" b="1" noProof="0" dirty="0">
              <a:solidFill>
                <a:srgbClr val="95C5C9"/>
              </a:solidFill>
            </a:endParaRPr>
          </a:p>
        </p:txBody>
      </p:sp>
      <p:sp>
        <p:nvSpPr>
          <p:cNvPr id="19" name="TextBox 18">
            <a:extLst>
              <a:ext uri="{FF2B5EF4-FFF2-40B4-BE49-F238E27FC236}">
                <a16:creationId xmlns:a16="http://schemas.microsoft.com/office/drawing/2014/main" id="{F11BAC19-BDC6-4E18-91B2-ACB72F19CEBF}"/>
              </a:ext>
            </a:extLst>
          </p:cNvPr>
          <p:cNvSpPr txBox="1"/>
          <p:nvPr/>
        </p:nvSpPr>
        <p:spPr>
          <a:xfrm>
            <a:off x="10256482"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2</a:t>
            </a:r>
          </a:p>
        </p:txBody>
      </p:sp>
      <p:sp>
        <p:nvSpPr>
          <p:cNvPr id="20" name="TextBox 19">
            <a:extLst>
              <a:ext uri="{FF2B5EF4-FFF2-40B4-BE49-F238E27FC236}">
                <a16:creationId xmlns:a16="http://schemas.microsoft.com/office/drawing/2014/main" id="{BB2F4E2A-8086-4D51-9AA8-7AC4ECAAF631}"/>
              </a:ext>
            </a:extLst>
          </p:cNvPr>
          <p:cNvSpPr txBox="1"/>
          <p:nvPr/>
        </p:nvSpPr>
        <p:spPr>
          <a:xfrm>
            <a:off x="10445909"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3</a:t>
            </a:r>
          </a:p>
        </p:txBody>
      </p:sp>
      <p:sp>
        <p:nvSpPr>
          <p:cNvPr id="25" name="TextBox 24">
            <a:extLst>
              <a:ext uri="{FF2B5EF4-FFF2-40B4-BE49-F238E27FC236}">
                <a16:creationId xmlns:a16="http://schemas.microsoft.com/office/drawing/2014/main" id="{ADD710EE-0F34-4A87-8A36-0E242C9E6556}"/>
              </a:ext>
            </a:extLst>
          </p:cNvPr>
          <p:cNvSpPr txBox="1"/>
          <p:nvPr/>
        </p:nvSpPr>
        <p:spPr>
          <a:xfrm>
            <a:off x="10635336"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4</a:t>
            </a:r>
            <a:endParaRPr lang="nl-NL" noProof="0" dirty="0">
              <a:solidFill>
                <a:srgbClr val="95C5C9"/>
              </a:solidFill>
            </a:endParaRPr>
          </a:p>
        </p:txBody>
      </p:sp>
      <p:sp>
        <p:nvSpPr>
          <p:cNvPr id="26" name="TextBox 25">
            <a:extLst>
              <a:ext uri="{FF2B5EF4-FFF2-40B4-BE49-F238E27FC236}">
                <a16:creationId xmlns:a16="http://schemas.microsoft.com/office/drawing/2014/main" id="{792CF7E5-8998-4A1D-8510-1A9E889D6396}"/>
              </a:ext>
            </a:extLst>
          </p:cNvPr>
          <p:cNvSpPr txBox="1"/>
          <p:nvPr/>
        </p:nvSpPr>
        <p:spPr>
          <a:xfrm>
            <a:off x="10824763"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5</a:t>
            </a:r>
            <a:endParaRPr lang="nl-NL" sz="1000" noProof="0" dirty="0">
              <a:solidFill>
                <a:srgbClr val="95C5C9"/>
              </a:solidFill>
            </a:endParaRPr>
          </a:p>
        </p:txBody>
      </p:sp>
      <p:sp>
        <p:nvSpPr>
          <p:cNvPr id="27" name="TextBox 26">
            <a:extLst>
              <a:ext uri="{FF2B5EF4-FFF2-40B4-BE49-F238E27FC236}">
                <a16:creationId xmlns:a16="http://schemas.microsoft.com/office/drawing/2014/main" id="{E40D0D37-126A-46F7-AC8C-5DCE0F803697}"/>
              </a:ext>
            </a:extLst>
          </p:cNvPr>
          <p:cNvSpPr txBox="1"/>
          <p:nvPr/>
        </p:nvSpPr>
        <p:spPr>
          <a:xfrm>
            <a:off x="11014190"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6</a:t>
            </a:r>
          </a:p>
        </p:txBody>
      </p:sp>
      <p:sp>
        <p:nvSpPr>
          <p:cNvPr id="28" name="TextBox 27">
            <a:extLst>
              <a:ext uri="{FF2B5EF4-FFF2-40B4-BE49-F238E27FC236}">
                <a16:creationId xmlns:a16="http://schemas.microsoft.com/office/drawing/2014/main" id="{D86987AA-49C4-4B15-83B2-6E315FA0C4A2}"/>
              </a:ext>
            </a:extLst>
          </p:cNvPr>
          <p:cNvSpPr txBox="1"/>
          <p:nvPr/>
        </p:nvSpPr>
        <p:spPr>
          <a:xfrm>
            <a:off x="11203617"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7</a:t>
            </a:r>
            <a:endParaRPr lang="nl-NL" sz="1000" noProof="0" dirty="0">
              <a:solidFill>
                <a:srgbClr val="95C5C9"/>
              </a:solidFill>
            </a:endParaRPr>
          </a:p>
        </p:txBody>
      </p:sp>
    </p:spTree>
    <p:extLst>
      <p:ext uri="{BB962C8B-B14F-4D97-AF65-F5344CB8AC3E}">
        <p14:creationId xmlns:p14="http://schemas.microsoft.com/office/powerpoint/2010/main" val="16436230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ABE98B0-3C8A-43C8-8200-5975A1E67A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70"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CABE98B0-3C8A-43C8-8200-5975A1E67A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1442" name="Picture 2">
            <a:extLst>
              <a:ext uri="{FF2B5EF4-FFF2-40B4-BE49-F238E27FC236}">
                <a16:creationId xmlns:a16="http://schemas.microsoft.com/office/drawing/2014/main" id="{F31421FC-687C-4775-BBCA-9AC90E0C78E6}"/>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D85439E5-6E0C-4BFB-9E2A-FA280E638BDE}"/>
              </a:ext>
            </a:extLst>
          </p:cNvPr>
          <p:cNvSpPr/>
          <p:nvPr/>
        </p:nvSpPr>
        <p:spPr>
          <a:xfrm>
            <a:off x="0" y="-2"/>
            <a:ext cx="12191999" cy="6858001"/>
          </a:xfrm>
          <a:prstGeom prst="rect">
            <a:avLst/>
          </a:prstGeom>
          <a:solidFill>
            <a:schemeClr val="bg1">
              <a:lumMod val="95000"/>
              <a:alpha val="88000"/>
            </a:schemeClr>
          </a:solidFill>
          <a:ln>
            <a:noFill/>
          </a:ln>
        </p:spPr>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0" indent="0">
              <a:lnSpc>
                <a:spcPct val="100000"/>
              </a:lnSpc>
              <a:buNone/>
            </a:pPr>
            <a:r>
              <a:rPr lang="nl-NL" sz="4400" b="1" dirty="0">
                <a:solidFill>
                  <a:srgbClr val="22777B"/>
                </a:solidFill>
              </a:rPr>
              <a:t>Vraag 2</a:t>
            </a:r>
          </a:p>
          <a:p>
            <a:pPr marL="0" indent="0">
              <a:lnSpc>
                <a:spcPct val="100000"/>
              </a:lnSpc>
              <a:buNone/>
            </a:pPr>
            <a:br>
              <a:rPr lang="nl-NL" sz="2400" dirty="0"/>
            </a:br>
            <a:r>
              <a:rPr lang="nl-NL" sz="2400" dirty="0"/>
              <a:t>Dank voor je opzet. Dat lijkt me een goed voorstel. Laten we eerst zorgen dat we het lerarentekort volledig begrijpen. Wat zou je allemaal willen onderzoeken?</a:t>
            </a:r>
            <a:endParaRPr kumimoji="0" lang="nl-NL" sz="2400" i="0" u="none" strike="noStrike" kern="1200" cap="none" spc="0" normalizeH="0" baseline="0" noProof="0" dirty="0">
              <a:ln>
                <a:noFill/>
              </a:ln>
              <a:effectLst/>
              <a:uLnTx/>
              <a:uFillTx/>
              <a:latin typeface="Corbel" panose="020B0503020204020204" pitchFamily="34" charset="0"/>
              <a:ea typeface="+mn-ea"/>
              <a:cs typeface="+mn-cs"/>
            </a:endParaRPr>
          </a:p>
        </p:txBody>
      </p:sp>
      <p:grpSp>
        <p:nvGrpSpPr>
          <p:cNvPr id="21" name="Group 20">
            <a:extLst>
              <a:ext uri="{FF2B5EF4-FFF2-40B4-BE49-F238E27FC236}">
                <a16:creationId xmlns:a16="http://schemas.microsoft.com/office/drawing/2014/main" id="{C5578B65-C922-42B5-B58E-017E05320628}"/>
              </a:ext>
            </a:extLst>
          </p:cNvPr>
          <p:cNvGrpSpPr/>
          <p:nvPr/>
        </p:nvGrpSpPr>
        <p:grpSpPr>
          <a:xfrm>
            <a:off x="2192835" y="237963"/>
            <a:ext cx="736493" cy="508712"/>
            <a:chOff x="2836863" y="3201988"/>
            <a:chExt cx="2001837" cy="1382712"/>
          </a:xfrm>
          <a:solidFill>
            <a:srgbClr val="22777B"/>
          </a:solidFill>
        </p:grpSpPr>
        <p:sp>
          <p:nvSpPr>
            <p:cNvPr id="22" name="Freeform 1">
              <a:extLst>
                <a:ext uri="{FF2B5EF4-FFF2-40B4-BE49-F238E27FC236}">
                  <a16:creationId xmlns:a16="http://schemas.microsoft.com/office/drawing/2014/main" id="{3B7896AF-670D-49F2-865F-D697DA861715}"/>
                </a:ext>
              </a:extLst>
            </p:cNvPr>
            <p:cNvSpPr>
              <a:spLocks noChangeArrowheads="1"/>
            </p:cNvSpPr>
            <p:nvPr/>
          </p:nvSpPr>
          <p:spPr bwMode="auto">
            <a:xfrm>
              <a:off x="2870200" y="3246438"/>
              <a:ext cx="1450975" cy="1247775"/>
            </a:xfrm>
            <a:custGeom>
              <a:avLst/>
              <a:gdLst>
                <a:gd name="T0" fmla="*/ 3625 w 4032"/>
                <a:gd name="T1" fmla="*/ 593 h 3468"/>
                <a:gd name="T2" fmla="*/ 3625 w 4032"/>
                <a:gd name="T3" fmla="*/ 593 h 3468"/>
                <a:gd name="T4" fmla="*/ 2000 w 4032"/>
                <a:gd name="T5" fmla="*/ 0 h 3468"/>
                <a:gd name="T6" fmla="*/ 593 w 4032"/>
                <a:gd name="T7" fmla="*/ 468 h 3468"/>
                <a:gd name="T8" fmla="*/ 593 w 4032"/>
                <a:gd name="T9" fmla="*/ 468 h 3468"/>
                <a:gd name="T10" fmla="*/ 31 w 4032"/>
                <a:gd name="T11" fmla="*/ 1531 h 3468"/>
                <a:gd name="T12" fmla="*/ 593 w 4032"/>
                <a:gd name="T13" fmla="*/ 2592 h 3468"/>
                <a:gd name="T14" fmla="*/ 500 w 4032"/>
                <a:gd name="T15" fmla="*/ 3374 h 3468"/>
                <a:gd name="T16" fmla="*/ 406 w 4032"/>
                <a:gd name="T17" fmla="*/ 3467 h 3468"/>
                <a:gd name="T18" fmla="*/ 531 w 4032"/>
                <a:gd name="T19" fmla="*/ 3467 h 3468"/>
                <a:gd name="T20" fmla="*/ 1343 w 4032"/>
                <a:gd name="T21" fmla="*/ 2967 h 3468"/>
                <a:gd name="T22" fmla="*/ 2093 w 4032"/>
                <a:gd name="T23" fmla="*/ 3030 h 3468"/>
                <a:gd name="T24" fmla="*/ 3531 w 4032"/>
                <a:gd name="T25" fmla="*/ 2592 h 3468"/>
                <a:gd name="T26" fmla="*/ 4031 w 4032"/>
                <a:gd name="T27" fmla="*/ 1531 h 3468"/>
                <a:gd name="T28" fmla="*/ 3625 w 4032"/>
                <a:gd name="T29" fmla="*/ 593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2" h="3468">
                  <a:moveTo>
                    <a:pt x="3625" y="593"/>
                  </a:moveTo>
                  <a:lnTo>
                    <a:pt x="3625" y="593"/>
                  </a:lnTo>
                  <a:cubicBezTo>
                    <a:pt x="3250" y="218"/>
                    <a:pt x="2625" y="0"/>
                    <a:pt x="2000" y="0"/>
                  </a:cubicBezTo>
                  <a:cubicBezTo>
                    <a:pt x="1468" y="0"/>
                    <a:pt x="1000" y="156"/>
                    <a:pt x="593" y="468"/>
                  </a:cubicBezTo>
                  <a:lnTo>
                    <a:pt x="593" y="468"/>
                  </a:lnTo>
                  <a:cubicBezTo>
                    <a:pt x="218" y="781"/>
                    <a:pt x="0" y="1156"/>
                    <a:pt x="31" y="1531"/>
                  </a:cubicBezTo>
                  <a:cubicBezTo>
                    <a:pt x="62" y="2217"/>
                    <a:pt x="500" y="2530"/>
                    <a:pt x="593" y="2592"/>
                  </a:cubicBezTo>
                  <a:cubicBezTo>
                    <a:pt x="625" y="2717"/>
                    <a:pt x="687" y="3092"/>
                    <a:pt x="500" y="3374"/>
                  </a:cubicBezTo>
                  <a:cubicBezTo>
                    <a:pt x="406" y="3467"/>
                    <a:pt x="406" y="3467"/>
                    <a:pt x="406" y="3467"/>
                  </a:cubicBezTo>
                  <a:cubicBezTo>
                    <a:pt x="531" y="3467"/>
                    <a:pt x="531" y="3467"/>
                    <a:pt x="531" y="3467"/>
                  </a:cubicBezTo>
                  <a:cubicBezTo>
                    <a:pt x="1000" y="3436"/>
                    <a:pt x="1281" y="3092"/>
                    <a:pt x="1343" y="2967"/>
                  </a:cubicBezTo>
                  <a:cubicBezTo>
                    <a:pt x="1437" y="2999"/>
                    <a:pt x="1718" y="3061"/>
                    <a:pt x="2093" y="3030"/>
                  </a:cubicBezTo>
                  <a:cubicBezTo>
                    <a:pt x="2656" y="3030"/>
                    <a:pt x="3156" y="2874"/>
                    <a:pt x="3531" y="2592"/>
                  </a:cubicBezTo>
                  <a:cubicBezTo>
                    <a:pt x="3843" y="2280"/>
                    <a:pt x="4031" y="1905"/>
                    <a:pt x="4031" y="1531"/>
                  </a:cubicBezTo>
                  <a:cubicBezTo>
                    <a:pt x="4031" y="1218"/>
                    <a:pt x="3906" y="906"/>
                    <a:pt x="3625" y="5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3" name="Freeform 2">
              <a:extLst>
                <a:ext uri="{FF2B5EF4-FFF2-40B4-BE49-F238E27FC236}">
                  <a16:creationId xmlns:a16="http://schemas.microsoft.com/office/drawing/2014/main" id="{CAD3F577-FAD4-4169-913E-31809A4FFBDC}"/>
                </a:ext>
              </a:extLst>
            </p:cNvPr>
            <p:cNvSpPr>
              <a:spLocks noChangeArrowheads="1"/>
            </p:cNvSpPr>
            <p:nvPr/>
          </p:nvSpPr>
          <p:spPr bwMode="auto">
            <a:xfrm>
              <a:off x="3983038" y="3201988"/>
              <a:ext cx="855662" cy="1338262"/>
            </a:xfrm>
            <a:custGeom>
              <a:avLst/>
              <a:gdLst>
                <a:gd name="T0" fmla="*/ 1781 w 2376"/>
                <a:gd name="T1" fmla="*/ 2811 h 3718"/>
                <a:gd name="T2" fmla="*/ 1781 w 2376"/>
                <a:gd name="T3" fmla="*/ 2811 h 3718"/>
                <a:gd name="T4" fmla="*/ 2375 w 2376"/>
                <a:gd name="T5" fmla="*/ 1687 h 3718"/>
                <a:gd name="T6" fmla="*/ 1750 w 2376"/>
                <a:gd name="T7" fmla="*/ 500 h 3718"/>
                <a:gd name="T8" fmla="*/ 282 w 2376"/>
                <a:gd name="T9" fmla="*/ 0 h 3718"/>
                <a:gd name="T10" fmla="*/ 0 w 2376"/>
                <a:gd name="T11" fmla="*/ 31 h 3718"/>
                <a:gd name="T12" fmla="*/ 782 w 2376"/>
                <a:gd name="T13" fmla="*/ 531 h 3718"/>
                <a:gd name="T14" fmla="*/ 1250 w 2376"/>
                <a:gd name="T15" fmla="*/ 1656 h 3718"/>
                <a:gd name="T16" fmla="*/ 625 w 2376"/>
                <a:gd name="T17" fmla="*/ 2905 h 3718"/>
                <a:gd name="T18" fmla="*/ 0 w 2376"/>
                <a:gd name="T19" fmla="*/ 3280 h 3718"/>
                <a:gd name="T20" fmla="*/ 875 w 2376"/>
                <a:gd name="T21" fmla="*/ 3249 h 3718"/>
                <a:gd name="T22" fmla="*/ 1938 w 2376"/>
                <a:gd name="T23" fmla="*/ 3717 h 3718"/>
                <a:gd name="T24" fmla="*/ 2219 w 2376"/>
                <a:gd name="T25" fmla="*/ 3717 h 3718"/>
                <a:gd name="T26" fmla="*/ 2032 w 2376"/>
                <a:gd name="T27" fmla="*/ 3530 h 3718"/>
                <a:gd name="T28" fmla="*/ 1781 w 2376"/>
                <a:gd name="T29" fmla="*/ 2811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6" h="3718">
                  <a:moveTo>
                    <a:pt x="1781" y="2811"/>
                  </a:moveTo>
                  <a:lnTo>
                    <a:pt x="1781" y="2811"/>
                  </a:lnTo>
                  <a:cubicBezTo>
                    <a:pt x="2157" y="2499"/>
                    <a:pt x="2375" y="2092"/>
                    <a:pt x="2375" y="1687"/>
                  </a:cubicBezTo>
                  <a:cubicBezTo>
                    <a:pt x="2375" y="1218"/>
                    <a:pt x="2188" y="812"/>
                    <a:pt x="1750" y="500"/>
                  </a:cubicBezTo>
                  <a:cubicBezTo>
                    <a:pt x="1344" y="187"/>
                    <a:pt x="844" y="0"/>
                    <a:pt x="282" y="0"/>
                  </a:cubicBezTo>
                  <a:cubicBezTo>
                    <a:pt x="188" y="0"/>
                    <a:pt x="94" y="0"/>
                    <a:pt x="0" y="31"/>
                  </a:cubicBezTo>
                  <a:cubicBezTo>
                    <a:pt x="282" y="125"/>
                    <a:pt x="563" y="312"/>
                    <a:pt x="782" y="531"/>
                  </a:cubicBezTo>
                  <a:cubicBezTo>
                    <a:pt x="1094" y="843"/>
                    <a:pt x="1250" y="1218"/>
                    <a:pt x="1250" y="1656"/>
                  </a:cubicBezTo>
                  <a:cubicBezTo>
                    <a:pt x="1250" y="2124"/>
                    <a:pt x="1032" y="2592"/>
                    <a:pt x="625" y="2905"/>
                  </a:cubicBezTo>
                  <a:cubicBezTo>
                    <a:pt x="438" y="3061"/>
                    <a:pt x="219" y="3186"/>
                    <a:pt x="0" y="3280"/>
                  </a:cubicBezTo>
                  <a:cubicBezTo>
                    <a:pt x="282" y="3311"/>
                    <a:pt x="563" y="3280"/>
                    <a:pt x="875" y="3249"/>
                  </a:cubicBezTo>
                  <a:cubicBezTo>
                    <a:pt x="1125" y="3561"/>
                    <a:pt x="1469" y="3717"/>
                    <a:pt x="1938" y="3717"/>
                  </a:cubicBezTo>
                  <a:cubicBezTo>
                    <a:pt x="2219" y="3717"/>
                    <a:pt x="2219" y="3717"/>
                    <a:pt x="2219" y="3717"/>
                  </a:cubicBezTo>
                  <a:cubicBezTo>
                    <a:pt x="2032" y="3530"/>
                    <a:pt x="2032" y="3530"/>
                    <a:pt x="2032" y="3530"/>
                  </a:cubicBezTo>
                  <a:cubicBezTo>
                    <a:pt x="1813" y="3311"/>
                    <a:pt x="1750" y="3092"/>
                    <a:pt x="1781" y="28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4" name="Freeform 3">
              <a:extLst>
                <a:ext uri="{FF2B5EF4-FFF2-40B4-BE49-F238E27FC236}">
                  <a16:creationId xmlns:a16="http://schemas.microsoft.com/office/drawing/2014/main" id="{8EDCAE06-9FA2-4B47-B181-6930B4A19E56}"/>
                </a:ext>
              </a:extLst>
            </p:cNvPr>
            <p:cNvSpPr>
              <a:spLocks noChangeArrowheads="1"/>
            </p:cNvSpPr>
            <p:nvPr/>
          </p:nvSpPr>
          <p:spPr bwMode="auto">
            <a:xfrm>
              <a:off x="2836863" y="3201988"/>
              <a:ext cx="1530350" cy="1382712"/>
            </a:xfrm>
            <a:custGeom>
              <a:avLst/>
              <a:gdLst>
                <a:gd name="T0" fmla="*/ 219 w 4251"/>
                <a:gd name="T1" fmla="*/ 3717 h 3843"/>
                <a:gd name="T2" fmla="*/ 219 w 4251"/>
                <a:gd name="T3" fmla="*/ 3717 h 3843"/>
                <a:gd name="T4" fmla="*/ 594 w 4251"/>
                <a:gd name="T5" fmla="*/ 2811 h 3843"/>
                <a:gd name="T6" fmla="*/ 0 w 4251"/>
                <a:gd name="T7" fmla="*/ 1656 h 3843"/>
                <a:gd name="T8" fmla="*/ 625 w 4251"/>
                <a:gd name="T9" fmla="*/ 500 h 3843"/>
                <a:gd name="T10" fmla="*/ 2094 w 4251"/>
                <a:gd name="T11" fmla="*/ 0 h 3843"/>
                <a:gd name="T12" fmla="*/ 2094 w 4251"/>
                <a:gd name="T13" fmla="*/ 0 h 3843"/>
                <a:gd name="T14" fmla="*/ 3781 w 4251"/>
                <a:gd name="T15" fmla="*/ 625 h 3843"/>
                <a:gd name="T16" fmla="*/ 4250 w 4251"/>
                <a:gd name="T17" fmla="*/ 1656 h 3843"/>
                <a:gd name="T18" fmla="*/ 3656 w 4251"/>
                <a:gd name="T19" fmla="*/ 2780 h 3843"/>
                <a:gd name="T20" fmla="*/ 1469 w 4251"/>
                <a:gd name="T21" fmla="*/ 3217 h 3843"/>
                <a:gd name="T22" fmla="*/ 219 w 4251"/>
                <a:gd name="T23" fmla="*/ 3717 h 3843"/>
                <a:gd name="T24" fmla="*/ 719 w 4251"/>
                <a:gd name="T25" fmla="*/ 625 h 3843"/>
                <a:gd name="T26" fmla="*/ 719 w 4251"/>
                <a:gd name="T27" fmla="*/ 625 h 3843"/>
                <a:gd name="T28" fmla="*/ 187 w 4251"/>
                <a:gd name="T29" fmla="*/ 1656 h 3843"/>
                <a:gd name="T30" fmla="*/ 750 w 4251"/>
                <a:gd name="T31" fmla="*/ 2686 h 3843"/>
                <a:gd name="T32" fmla="*/ 625 w 4251"/>
                <a:gd name="T33" fmla="*/ 3530 h 3843"/>
                <a:gd name="T34" fmla="*/ 1406 w 4251"/>
                <a:gd name="T35" fmla="*/ 3030 h 3843"/>
                <a:gd name="T36" fmla="*/ 3562 w 4251"/>
                <a:gd name="T37" fmla="*/ 2655 h 3843"/>
                <a:gd name="T38" fmla="*/ 4062 w 4251"/>
                <a:gd name="T39" fmla="*/ 1656 h 3843"/>
                <a:gd name="T40" fmla="*/ 3656 w 4251"/>
                <a:gd name="T41" fmla="*/ 750 h 3843"/>
                <a:gd name="T42" fmla="*/ 2094 w 4251"/>
                <a:gd name="T43" fmla="*/ 187 h 3843"/>
                <a:gd name="T44" fmla="*/ 719 w 4251"/>
                <a:gd name="T45" fmla="*/ 625 h 3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51" h="3843">
                  <a:moveTo>
                    <a:pt x="219" y="3717"/>
                  </a:moveTo>
                  <a:lnTo>
                    <a:pt x="219" y="3717"/>
                  </a:lnTo>
                  <a:cubicBezTo>
                    <a:pt x="219" y="3717"/>
                    <a:pt x="656" y="3342"/>
                    <a:pt x="594" y="2811"/>
                  </a:cubicBezTo>
                  <a:cubicBezTo>
                    <a:pt x="219" y="2499"/>
                    <a:pt x="0" y="2092"/>
                    <a:pt x="0" y="1656"/>
                  </a:cubicBezTo>
                  <a:cubicBezTo>
                    <a:pt x="0" y="1218"/>
                    <a:pt x="219" y="812"/>
                    <a:pt x="625" y="500"/>
                  </a:cubicBezTo>
                  <a:cubicBezTo>
                    <a:pt x="1031" y="187"/>
                    <a:pt x="1531" y="0"/>
                    <a:pt x="2094" y="0"/>
                  </a:cubicBezTo>
                  <a:lnTo>
                    <a:pt x="2094" y="0"/>
                  </a:lnTo>
                  <a:cubicBezTo>
                    <a:pt x="2781" y="0"/>
                    <a:pt x="3375" y="218"/>
                    <a:pt x="3781" y="625"/>
                  </a:cubicBezTo>
                  <a:cubicBezTo>
                    <a:pt x="4094" y="937"/>
                    <a:pt x="4250" y="1281"/>
                    <a:pt x="4250" y="1656"/>
                  </a:cubicBezTo>
                  <a:cubicBezTo>
                    <a:pt x="4250" y="2092"/>
                    <a:pt x="4031" y="2499"/>
                    <a:pt x="3656" y="2780"/>
                  </a:cubicBezTo>
                  <a:cubicBezTo>
                    <a:pt x="3125" y="3217"/>
                    <a:pt x="2344" y="3374"/>
                    <a:pt x="1469" y="3217"/>
                  </a:cubicBezTo>
                  <a:cubicBezTo>
                    <a:pt x="1125" y="3842"/>
                    <a:pt x="219" y="3717"/>
                    <a:pt x="219" y="3717"/>
                  </a:cubicBezTo>
                  <a:close/>
                  <a:moveTo>
                    <a:pt x="719" y="625"/>
                  </a:moveTo>
                  <a:lnTo>
                    <a:pt x="719" y="625"/>
                  </a:lnTo>
                  <a:cubicBezTo>
                    <a:pt x="375" y="906"/>
                    <a:pt x="156" y="1281"/>
                    <a:pt x="187" y="1656"/>
                  </a:cubicBezTo>
                  <a:cubicBezTo>
                    <a:pt x="219" y="2374"/>
                    <a:pt x="750" y="2686"/>
                    <a:pt x="750" y="2686"/>
                  </a:cubicBezTo>
                  <a:cubicBezTo>
                    <a:pt x="750" y="2686"/>
                    <a:pt x="875" y="3186"/>
                    <a:pt x="625" y="3530"/>
                  </a:cubicBezTo>
                  <a:cubicBezTo>
                    <a:pt x="1125" y="3499"/>
                    <a:pt x="1406" y="3030"/>
                    <a:pt x="1406" y="3030"/>
                  </a:cubicBezTo>
                  <a:cubicBezTo>
                    <a:pt x="1406" y="3030"/>
                    <a:pt x="2719" y="3342"/>
                    <a:pt x="3562" y="2655"/>
                  </a:cubicBezTo>
                  <a:cubicBezTo>
                    <a:pt x="3875" y="2374"/>
                    <a:pt x="4062" y="2030"/>
                    <a:pt x="4062" y="1656"/>
                  </a:cubicBezTo>
                  <a:cubicBezTo>
                    <a:pt x="4062" y="1312"/>
                    <a:pt x="3906" y="1031"/>
                    <a:pt x="3656" y="750"/>
                  </a:cubicBezTo>
                  <a:cubicBezTo>
                    <a:pt x="3281" y="375"/>
                    <a:pt x="2656" y="187"/>
                    <a:pt x="2094" y="187"/>
                  </a:cubicBezTo>
                  <a:cubicBezTo>
                    <a:pt x="1562" y="187"/>
                    <a:pt x="1094" y="343"/>
                    <a:pt x="719" y="62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20" name="Oval 19">
            <a:extLst>
              <a:ext uri="{FF2B5EF4-FFF2-40B4-BE49-F238E27FC236}">
                <a16:creationId xmlns:a16="http://schemas.microsoft.com/office/drawing/2014/main" id="{E4785EA2-59D5-4E41-9A0D-6985C18331D5}"/>
              </a:ext>
            </a:extLst>
          </p:cNvPr>
          <p:cNvSpPr/>
          <p:nvPr/>
        </p:nvSpPr>
        <p:spPr>
          <a:xfrm>
            <a:off x="10250705" y="36609"/>
            <a:ext cx="148708" cy="148708"/>
          </a:xfrm>
          <a:prstGeom prst="ellipse">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95C5C9"/>
              </a:solidFill>
              <a:effectLst/>
              <a:uLnTx/>
              <a:uFillTx/>
              <a:latin typeface="Corbel" panose="020B0503020204020204" pitchFamily="34" charset="0"/>
              <a:ea typeface="+mn-ea"/>
              <a:cs typeface="+mn-cs"/>
            </a:endParaRPr>
          </a:p>
        </p:txBody>
      </p:sp>
      <p:sp>
        <p:nvSpPr>
          <p:cNvPr id="25" name="TextBox 24">
            <a:extLst>
              <a:ext uri="{FF2B5EF4-FFF2-40B4-BE49-F238E27FC236}">
                <a16:creationId xmlns:a16="http://schemas.microsoft.com/office/drawing/2014/main" id="{C735349E-A7BE-4D01-9258-812F8E155AEC}"/>
              </a:ext>
            </a:extLst>
          </p:cNvPr>
          <p:cNvSpPr txBox="1"/>
          <p:nvPr/>
        </p:nvSpPr>
        <p:spPr>
          <a:xfrm>
            <a:off x="10067055"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1</a:t>
            </a:r>
            <a:endParaRPr lang="nl-NL" noProof="0" dirty="0">
              <a:solidFill>
                <a:srgbClr val="95C5C9"/>
              </a:solidFill>
            </a:endParaRPr>
          </a:p>
        </p:txBody>
      </p:sp>
      <p:sp>
        <p:nvSpPr>
          <p:cNvPr id="26" name="TextBox 25">
            <a:extLst>
              <a:ext uri="{FF2B5EF4-FFF2-40B4-BE49-F238E27FC236}">
                <a16:creationId xmlns:a16="http://schemas.microsoft.com/office/drawing/2014/main" id="{4F225276-CCA9-4ED5-8612-ABF8DE13EAF3}"/>
              </a:ext>
            </a:extLst>
          </p:cNvPr>
          <p:cNvSpPr txBox="1"/>
          <p:nvPr/>
        </p:nvSpPr>
        <p:spPr>
          <a:xfrm>
            <a:off x="10256482" y="40328"/>
            <a:ext cx="137154" cy="141270"/>
          </a:xfrm>
          <a:prstGeom prst="rect">
            <a:avLst/>
          </a:prstGeom>
        </p:spPr>
        <p:txBody>
          <a:bodyPr vert="horz" wrap="square" lIns="0" tIns="0" rIns="0" bIns="0" rtlCol="0" anchor="ctr">
            <a:noAutofit/>
          </a:bodyPr>
          <a:lstStyle/>
          <a:p>
            <a:pPr marL="0" indent="0" algn="ctr">
              <a:buNone/>
            </a:pPr>
            <a:r>
              <a:rPr lang="nl-NL" sz="1000" b="1" noProof="0" dirty="0">
                <a:solidFill>
                  <a:srgbClr val="95C5C9"/>
                </a:solidFill>
              </a:rPr>
              <a:t>2</a:t>
            </a:r>
          </a:p>
        </p:txBody>
      </p:sp>
      <p:sp>
        <p:nvSpPr>
          <p:cNvPr id="27" name="TextBox 26">
            <a:extLst>
              <a:ext uri="{FF2B5EF4-FFF2-40B4-BE49-F238E27FC236}">
                <a16:creationId xmlns:a16="http://schemas.microsoft.com/office/drawing/2014/main" id="{792455E7-4B79-41AC-B01D-E10FDD9263F4}"/>
              </a:ext>
            </a:extLst>
          </p:cNvPr>
          <p:cNvSpPr txBox="1"/>
          <p:nvPr/>
        </p:nvSpPr>
        <p:spPr>
          <a:xfrm>
            <a:off x="10445909"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3</a:t>
            </a:r>
          </a:p>
        </p:txBody>
      </p:sp>
      <p:sp>
        <p:nvSpPr>
          <p:cNvPr id="28" name="TextBox 27">
            <a:extLst>
              <a:ext uri="{FF2B5EF4-FFF2-40B4-BE49-F238E27FC236}">
                <a16:creationId xmlns:a16="http://schemas.microsoft.com/office/drawing/2014/main" id="{47F24F63-94D9-4B66-AD45-573C1412F4E8}"/>
              </a:ext>
            </a:extLst>
          </p:cNvPr>
          <p:cNvSpPr txBox="1"/>
          <p:nvPr/>
        </p:nvSpPr>
        <p:spPr>
          <a:xfrm>
            <a:off x="10635336"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4</a:t>
            </a:r>
            <a:endParaRPr lang="nl-NL" noProof="0" dirty="0">
              <a:solidFill>
                <a:srgbClr val="95C5C9"/>
              </a:solidFill>
            </a:endParaRPr>
          </a:p>
        </p:txBody>
      </p:sp>
      <p:sp>
        <p:nvSpPr>
          <p:cNvPr id="29" name="TextBox 28">
            <a:extLst>
              <a:ext uri="{FF2B5EF4-FFF2-40B4-BE49-F238E27FC236}">
                <a16:creationId xmlns:a16="http://schemas.microsoft.com/office/drawing/2014/main" id="{E7589F2C-A031-490A-9BDF-724A43A6F21A}"/>
              </a:ext>
            </a:extLst>
          </p:cNvPr>
          <p:cNvSpPr txBox="1"/>
          <p:nvPr/>
        </p:nvSpPr>
        <p:spPr>
          <a:xfrm>
            <a:off x="10824763"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5</a:t>
            </a:r>
            <a:endParaRPr lang="nl-NL" sz="1000" noProof="0" dirty="0">
              <a:solidFill>
                <a:srgbClr val="95C5C9"/>
              </a:solidFill>
            </a:endParaRPr>
          </a:p>
        </p:txBody>
      </p:sp>
      <p:sp>
        <p:nvSpPr>
          <p:cNvPr id="30" name="TextBox 29">
            <a:extLst>
              <a:ext uri="{FF2B5EF4-FFF2-40B4-BE49-F238E27FC236}">
                <a16:creationId xmlns:a16="http://schemas.microsoft.com/office/drawing/2014/main" id="{22C9E892-80D5-4AFC-B3F2-AE01B0E51053}"/>
              </a:ext>
            </a:extLst>
          </p:cNvPr>
          <p:cNvSpPr txBox="1"/>
          <p:nvPr/>
        </p:nvSpPr>
        <p:spPr>
          <a:xfrm>
            <a:off x="11014190"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6</a:t>
            </a:r>
          </a:p>
        </p:txBody>
      </p:sp>
      <p:sp>
        <p:nvSpPr>
          <p:cNvPr id="31" name="TextBox 30">
            <a:extLst>
              <a:ext uri="{FF2B5EF4-FFF2-40B4-BE49-F238E27FC236}">
                <a16:creationId xmlns:a16="http://schemas.microsoft.com/office/drawing/2014/main" id="{AB2AC26E-5BFB-473B-B168-2E277FA4AFDB}"/>
              </a:ext>
            </a:extLst>
          </p:cNvPr>
          <p:cNvSpPr txBox="1"/>
          <p:nvPr/>
        </p:nvSpPr>
        <p:spPr>
          <a:xfrm>
            <a:off x="11203617"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7</a:t>
            </a:r>
            <a:endParaRPr lang="nl-NL" sz="1000" noProof="0" dirty="0">
              <a:solidFill>
                <a:srgbClr val="95C5C9"/>
              </a:solidFill>
            </a:endParaRPr>
          </a:p>
        </p:txBody>
      </p:sp>
    </p:spTree>
    <p:extLst>
      <p:ext uri="{BB962C8B-B14F-4D97-AF65-F5344CB8AC3E}">
        <p14:creationId xmlns:p14="http://schemas.microsoft.com/office/powerpoint/2010/main" val="18264536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ABE98B0-3C8A-43C8-8200-5975A1E67A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94"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CABE98B0-3C8A-43C8-8200-5975A1E67A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B7005C69-C8D5-4CD2-A222-DB83596ED306}"/>
              </a:ext>
            </a:extLst>
          </p:cNvPr>
          <p:cNvSpPr>
            <a:spLocks noGrp="1"/>
          </p:cNvSpPr>
          <p:nvPr>
            <p:ph type="ftr" sz="quarter" idx="3"/>
          </p:nvPr>
        </p:nvSpPr>
        <p:spPr/>
        <p:txBody>
          <a:bodyPr/>
          <a:lstStyle/>
          <a:p>
            <a:r>
              <a:rPr lang="nl-NL" noProof="0"/>
              <a:t>Bron: </a:t>
            </a:r>
          </a:p>
        </p:txBody>
      </p:sp>
      <p:sp>
        <p:nvSpPr>
          <p:cNvPr id="5" name="Slide Number Placeholder 4">
            <a:extLst>
              <a:ext uri="{FF2B5EF4-FFF2-40B4-BE49-F238E27FC236}">
                <a16:creationId xmlns:a16="http://schemas.microsoft.com/office/drawing/2014/main" id="{884FD416-CB43-4A83-8EDE-DF8450D7AC65}"/>
              </a:ext>
            </a:extLst>
          </p:cNvPr>
          <p:cNvSpPr>
            <a:spLocks noGrp="1"/>
          </p:cNvSpPr>
          <p:nvPr>
            <p:ph type="sldNum" sz="quarter" idx="12"/>
          </p:nvPr>
        </p:nvSpPr>
        <p:spPr/>
        <p:txBody>
          <a:bodyPr/>
          <a:lstStyle/>
          <a:p>
            <a:fld id="{992CD0B2-8AB2-4C6C-8876-E15753662C9B}" type="slidenum">
              <a:rPr lang="nl-NL" noProof="0" smtClean="0"/>
              <a:pPr/>
              <a:t>14</a:t>
            </a:fld>
            <a:endParaRPr lang="nl-NL" noProof="0"/>
          </a:p>
        </p:txBody>
      </p:sp>
      <p:sp>
        <p:nvSpPr>
          <p:cNvPr id="30" name="Text Placeholder 5">
            <a:extLst>
              <a:ext uri="{FF2B5EF4-FFF2-40B4-BE49-F238E27FC236}">
                <a16:creationId xmlns:a16="http://schemas.microsoft.com/office/drawing/2014/main" id="{7347DDFB-778D-40B7-AB84-CA2BD033379C}"/>
              </a:ext>
            </a:extLst>
          </p:cNvPr>
          <p:cNvSpPr txBox="1">
            <a:spLocks/>
          </p:cNvSpPr>
          <p:nvPr/>
        </p:nvSpPr>
        <p:spPr>
          <a:xfrm>
            <a:off x="6031344" y="3673659"/>
            <a:ext cx="5511555" cy="2635066"/>
          </a:xfrm>
          <a:prstGeom prst="rect">
            <a:avLst/>
          </a:prstGeom>
          <a:solidFill>
            <a:schemeClr val="bg1"/>
          </a:solidFill>
          <a:ln>
            <a:solidFill>
              <a:schemeClr val="bg1">
                <a:lumMod val="85000"/>
              </a:schemeClr>
            </a:solidFill>
          </a:ln>
        </p:spPr>
        <p:txBody>
          <a:bodyPr vert="horz" lIns="54000" tIns="72000" rIns="54000" bIns="72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nSpc>
                <a:spcPct val="100000"/>
              </a:lnSpc>
            </a:pPr>
            <a:r>
              <a:rPr lang="nl-NL" sz="1200" dirty="0"/>
              <a:t>Hoe zou een onvoldoende antwoord eruit zien?</a:t>
            </a:r>
            <a:br>
              <a:rPr lang="nl-NL" sz="1200" dirty="0"/>
            </a:br>
            <a:r>
              <a:rPr lang="nl-NL" sz="1200" b="0" dirty="0"/>
              <a:t>“Ik denk dat er veel verschillende oorzaken kunnen zijn voor het tekort. Ik zou onder andere willen kijken naar de salarissen van de leraren, en het percentage uitstroom naar andere beroepen. Ik denk dat die uitstroom vrij hoog is vergeleken met andere beroepen”</a:t>
            </a:r>
          </a:p>
          <a:p>
            <a:pPr>
              <a:lnSpc>
                <a:spcPct val="100000"/>
              </a:lnSpc>
            </a:pPr>
            <a:endParaRPr lang="nl-NL" sz="1200" b="0" dirty="0"/>
          </a:p>
          <a:p>
            <a:pPr>
              <a:lnSpc>
                <a:spcPct val="100000"/>
              </a:lnSpc>
            </a:pPr>
            <a:r>
              <a:rPr lang="nl-NL" sz="1200" dirty="0"/>
              <a:t>Wat kan hier beter?</a:t>
            </a:r>
          </a:p>
          <a:p>
            <a:pPr marL="171450" indent="-171450">
              <a:lnSpc>
                <a:spcPct val="100000"/>
              </a:lnSpc>
              <a:buFont typeface="Wingdings" panose="05000000000000000000" pitchFamily="2" charset="2"/>
              <a:buChar char="§"/>
            </a:pPr>
            <a:r>
              <a:rPr lang="nl-NL" sz="1200" b="0" dirty="0"/>
              <a:t>Het antwoord bevat nog geen heldere (abstractere) structuur die handvatten biedt om dit probleem te analyseren.</a:t>
            </a:r>
          </a:p>
        </p:txBody>
      </p:sp>
      <p:sp>
        <p:nvSpPr>
          <p:cNvPr id="8" name="Text Placeholder 5">
            <a:extLst>
              <a:ext uri="{FF2B5EF4-FFF2-40B4-BE49-F238E27FC236}">
                <a16:creationId xmlns:a16="http://schemas.microsoft.com/office/drawing/2014/main" id="{590D4113-C0B4-44C6-867B-45E0549FB90F}"/>
              </a:ext>
            </a:extLst>
          </p:cNvPr>
          <p:cNvSpPr txBox="1">
            <a:spLocks/>
          </p:cNvSpPr>
          <p:nvPr/>
        </p:nvSpPr>
        <p:spPr>
          <a:xfrm>
            <a:off x="2952749" y="545413"/>
            <a:ext cx="8577451" cy="3053212"/>
          </a:xfrm>
          <a:prstGeom prst="rect">
            <a:avLst/>
          </a:prstGeom>
          <a:solidFill>
            <a:schemeClr val="bg1">
              <a:lumMod val="95000"/>
            </a:schemeClr>
          </a:solidFill>
          <a:ln>
            <a:solidFill>
              <a:srgbClr val="22777B"/>
            </a:solidFill>
          </a:ln>
        </p:spPr>
        <p:txBody>
          <a:bodyPr vert="horz" lIns="72000" tIns="72000" rIns="72000" bIns="72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nSpc>
                <a:spcPct val="100000"/>
              </a:lnSpc>
            </a:pPr>
            <a:r>
              <a:rPr lang="nl-NL" sz="1200" dirty="0"/>
              <a:t>Excellent antwoord</a:t>
            </a:r>
            <a:br>
              <a:rPr lang="nl-NL" sz="1200" dirty="0"/>
            </a:br>
            <a:r>
              <a:rPr lang="nl-NL" sz="1200" b="0" dirty="0"/>
              <a:t>Een tekort ontstaat door een verschil tussen vraag en aanbod. Ik zou dan ook graag willen beginnen met het bekijken van deze twee factoren. Is er iets bekend over de vraag en aanbodontwikkeling? </a:t>
            </a:r>
            <a:r>
              <a:rPr lang="nl-NL" sz="1200" b="0" i="1" dirty="0"/>
              <a:t>[Interviewer: nee, ik heb geen informatie, wat denk je zelf dat de ontwikkeling is?]</a:t>
            </a:r>
            <a:r>
              <a:rPr lang="nl-NL" sz="1200" b="0" dirty="0"/>
              <a:t> Mmm, lastig, ik weet dat de Nederlandse maatschappij vergrijst en het aantal kinderen afneemt dus mijn eerste gedachte is dat het niet aan de vraag ligt maar aan het aanbod. Maar eigenlijk weet ik het niet. Ik zou graag vraag en aanbod nog verder uitwerken om een betere inschatting te maken. Volgens mij zijn de volgende factoren van belang:</a:t>
            </a:r>
          </a:p>
          <a:p>
            <a:pPr marL="180000" marR="0" lvl="0" indent="-180000" algn="l" defTabSz="685800" rtl="0" eaLnBrk="1" fontAlgn="auto" latinLnBrk="0" hangingPunct="1">
              <a:lnSpc>
                <a:spcPct val="100000"/>
              </a:lnSpc>
              <a:spcBef>
                <a:spcPts val="375"/>
              </a:spcBef>
              <a:spcAft>
                <a:spcPts val="0"/>
              </a:spcAft>
              <a:buClr>
                <a:srgbClr val="22777B"/>
              </a:buClr>
              <a:buSzTx/>
              <a:buFont typeface="Wingdings" panose="05000000000000000000" pitchFamily="2" charset="2"/>
              <a:buChar char="§"/>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bod: hoeveel nieuwe leerkrachten komen er ieder jaar bij? Hoeveel leerkrachten vertrekken er ieder jaar? Bij vertrek zou ik graag kijken naar zowel pensionering als vrijwillig vertrek naar bijvoorbeeld een ander beroep.</a:t>
            </a:r>
          </a:p>
          <a:p>
            <a:pPr marL="180000" marR="0" lvl="0" indent="-180000" algn="l" defTabSz="685800" rtl="0" eaLnBrk="1" fontAlgn="auto" latinLnBrk="0" hangingPunct="1">
              <a:lnSpc>
                <a:spcPct val="100000"/>
              </a:lnSpc>
              <a:spcBef>
                <a:spcPts val="375"/>
              </a:spcBef>
              <a:spcAft>
                <a:spcPts val="0"/>
              </a:spcAft>
              <a:buClr>
                <a:srgbClr val="22777B"/>
              </a:buClr>
              <a:buSzTx/>
              <a:buFont typeface="Wingdings" panose="05000000000000000000" pitchFamily="2" charset="2"/>
              <a:buChar char="§"/>
              <a:tabLst/>
              <a:defRPr/>
            </a:pPr>
            <a:r>
              <a:rPr lang="nl-NL" sz="1200" b="0" dirty="0"/>
              <a:t>Vraag: hoe ontwikkelt het aantal leerlingen? En misschien zijn er zaken die invloed hebben op hoeveel leerkrachten we gebruiken per klas of groep?</a:t>
            </a:r>
            <a:endPar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endParaRPr lang="nl-NL" sz="1200" b="0" dirty="0"/>
          </a:p>
          <a:p>
            <a:endParaRPr lang="nl-NL" sz="1200" b="0" dirty="0"/>
          </a:p>
        </p:txBody>
      </p:sp>
      <p:sp>
        <p:nvSpPr>
          <p:cNvPr id="15" name="Text Placeholder 5">
            <a:extLst>
              <a:ext uri="{FF2B5EF4-FFF2-40B4-BE49-F238E27FC236}">
                <a16:creationId xmlns:a16="http://schemas.microsoft.com/office/drawing/2014/main" id="{D810EC08-28BB-4468-B85E-E1A870DBD8DF}"/>
              </a:ext>
            </a:extLst>
          </p:cNvPr>
          <p:cNvSpPr txBox="1">
            <a:spLocks/>
          </p:cNvSpPr>
          <p:nvPr/>
        </p:nvSpPr>
        <p:spPr>
          <a:xfrm>
            <a:off x="2952749" y="3673659"/>
            <a:ext cx="3078595" cy="2635066"/>
          </a:xfrm>
          <a:prstGeom prst="rect">
            <a:avLst/>
          </a:prstGeom>
          <a:solidFill>
            <a:schemeClr val="bg1"/>
          </a:solidFill>
          <a:ln>
            <a:solidFill>
              <a:schemeClr val="bg1">
                <a:lumMod val="85000"/>
              </a:schemeClr>
            </a:solidFill>
          </a:ln>
        </p:spPr>
        <p:txBody>
          <a:bodyPr vert="horz" lIns="54000" tIns="72000" rIns="54000" bIns="72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nSpc>
                <a:spcPct val="100000"/>
              </a:lnSpc>
            </a:pPr>
            <a:r>
              <a:rPr lang="nl-NL" sz="1200" dirty="0"/>
              <a:t>Wat maakt dit antwoord goed?</a:t>
            </a:r>
          </a:p>
          <a:p>
            <a:pPr marL="171450" indent="-171450">
              <a:lnSpc>
                <a:spcPct val="100000"/>
              </a:lnSpc>
              <a:buClr>
                <a:schemeClr val="tx2"/>
              </a:buClr>
              <a:buFont typeface="Wingdings" panose="05000000000000000000" pitchFamily="2" charset="2"/>
              <a:buChar char="ü"/>
            </a:pPr>
            <a:r>
              <a:rPr lang="nl-NL" sz="1200" b="0" dirty="0"/>
              <a:t>Heldere en nuttige opsplitsing naar vraag en aanbod</a:t>
            </a:r>
          </a:p>
          <a:p>
            <a:pPr marL="171450" indent="-171450">
              <a:lnSpc>
                <a:spcPct val="100000"/>
              </a:lnSpc>
              <a:buClr>
                <a:schemeClr val="tx2"/>
              </a:buClr>
              <a:buFont typeface="Wingdings" panose="05000000000000000000" pitchFamily="2" charset="2"/>
              <a:buChar char="ü"/>
            </a:pPr>
            <a:r>
              <a:rPr lang="nl-NL" sz="1200" b="0" dirty="0"/>
              <a:t>Concrete invulling hoe deze twee concepten geanalyseerd kunnen worden.</a:t>
            </a:r>
          </a:p>
          <a:p>
            <a:pPr marL="171450" indent="-171450">
              <a:lnSpc>
                <a:spcPct val="100000"/>
              </a:lnSpc>
              <a:buClr>
                <a:schemeClr val="tx2"/>
              </a:buClr>
              <a:buFont typeface="Wingdings" panose="05000000000000000000" pitchFamily="2" charset="2"/>
              <a:buChar char="§"/>
            </a:pPr>
            <a:endParaRPr lang="nl-NL" sz="1200" b="0" dirty="0"/>
          </a:p>
          <a:p>
            <a:pPr>
              <a:lnSpc>
                <a:spcPct val="100000"/>
              </a:lnSpc>
              <a:buClr>
                <a:schemeClr val="tx2"/>
              </a:buClr>
            </a:pPr>
            <a:r>
              <a:rPr lang="nl-NL" sz="1200" dirty="0"/>
              <a:t>Extra uitleg</a:t>
            </a:r>
          </a:p>
          <a:p>
            <a:pPr marL="171450" indent="-171450">
              <a:lnSpc>
                <a:spcPct val="100000"/>
              </a:lnSpc>
              <a:buFont typeface="Wingdings" panose="05000000000000000000" pitchFamily="2" charset="2"/>
              <a:buChar char="§"/>
            </a:pPr>
            <a:r>
              <a:rPr lang="nl-NL" sz="1200" b="0" dirty="0"/>
              <a:t>Een structuur helpt je vaak heel erg bij het beantwoorden van de vraag (Voorbeelden hiervan zijn vraag/aanbod of complexe/lichte doelgroepen) </a:t>
            </a:r>
          </a:p>
          <a:p>
            <a:pPr marL="171450" indent="-171450">
              <a:lnSpc>
                <a:spcPct val="100000"/>
              </a:lnSpc>
              <a:buFont typeface="Wingdings" panose="05000000000000000000" pitchFamily="2" charset="2"/>
              <a:buChar char="§"/>
            </a:pPr>
            <a:r>
              <a:rPr lang="nl-NL" sz="1200" b="0" dirty="0"/>
              <a:t>Er zijn altijd meerdere structuren toe te passen, maar aan jou de vraag om snel te bedenken wat handig is.</a:t>
            </a:r>
          </a:p>
          <a:p>
            <a:pPr>
              <a:buClr>
                <a:schemeClr val="tx2"/>
              </a:buClr>
            </a:pPr>
            <a:endParaRPr lang="nl-NL" sz="1200" b="0" dirty="0"/>
          </a:p>
          <a:p>
            <a:pPr>
              <a:buClr>
                <a:schemeClr val="tx2"/>
              </a:buClr>
            </a:pPr>
            <a:endParaRPr lang="nl-NL" sz="1200" b="0" dirty="0"/>
          </a:p>
        </p:txBody>
      </p:sp>
      <p:pic>
        <p:nvPicPr>
          <p:cNvPr id="61442" name="Picture 2">
            <a:extLst>
              <a:ext uri="{FF2B5EF4-FFF2-40B4-BE49-F238E27FC236}">
                <a16:creationId xmlns:a16="http://schemas.microsoft.com/office/drawing/2014/main" id="{F31421FC-687C-4775-BBCA-9AC90E0C78E6}"/>
              </a:ext>
            </a:extLst>
          </p:cNvPr>
          <p:cNvPicPr>
            <a:picLocks noChangeAspect="1" noChangeArrowheads="1"/>
          </p:cNvPicPr>
          <p:nvPr/>
        </p:nvPicPr>
        <p:blipFill>
          <a:blip r:embed="rId6" cstate="hqprint">
            <a:extLst>
              <a:ext uri="{28A0092B-C50C-407E-A947-70E740481C1C}">
                <a14:useLocalDpi xmlns:a14="http://schemas.microsoft.com/office/drawing/2010/main"/>
              </a:ext>
            </a:extLst>
          </a:blip>
          <a:srcRect l="38477" r="38477"/>
          <a:stretch/>
        </p:blipFill>
        <p:spPr bwMode="auto">
          <a:xfrm>
            <a:off x="0" y="0"/>
            <a:ext cx="28098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D85439E5-6E0C-4BFB-9E2A-FA280E638BDE}"/>
              </a:ext>
            </a:extLst>
          </p:cNvPr>
          <p:cNvSpPr/>
          <p:nvPr/>
        </p:nvSpPr>
        <p:spPr>
          <a:xfrm>
            <a:off x="0" y="-8800"/>
            <a:ext cx="2809875" cy="6866800"/>
          </a:xfrm>
          <a:prstGeom prst="rect">
            <a:avLst/>
          </a:prstGeom>
          <a:solidFill>
            <a:schemeClr val="bg1">
              <a:alpha val="84000"/>
            </a:schemeClr>
          </a:solidFill>
          <a:ln>
            <a:noFill/>
          </a:ln>
        </p:spPr>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0" indent="0">
              <a:lnSpc>
                <a:spcPct val="100000"/>
              </a:lnSpc>
              <a:buNone/>
            </a:pPr>
            <a:r>
              <a:rPr lang="nl-NL" sz="2800" b="1" dirty="0">
                <a:solidFill>
                  <a:srgbClr val="22777B"/>
                </a:solidFill>
              </a:rPr>
              <a:t>Vraag 2</a:t>
            </a:r>
          </a:p>
          <a:p>
            <a:pPr marL="0" indent="0">
              <a:lnSpc>
                <a:spcPct val="100000"/>
              </a:lnSpc>
              <a:buNone/>
            </a:pPr>
            <a:br>
              <a:rPr lang="nl-NL" sz="1400" dirty="0"/>
            </a:br>
            <a:r>
              <a:rPr lang="nl-NL" sz="1200" dirty="0"/>
              <a:t>Na afloop van een meeting op het stadhuis sprak ik nog kort met de wethouder onderwijs van gemeente Amsterdam. Ze gaf me aan dat het lerarentekort in Amsterdam steeds nijpender wordt; van alle kanten komen signalen dat scholen problemen hebben met het vinden van leerkrachten. Toch is het probleem nog steeds onduidelijk, en ook is het onbekend waarom het probleem nu zo anders is dan in overige gemeenten. Ze vraagt ons om eens kort een blik te werpen op de problematiek en na te denken over wat ze mogelijk kan doen om het tekort te adresseren.</a:t>
            </a:r>
          </a:p>
          <a:p>
            <a:pPr>
              <a:lnSpc>
                <a:spcPct val="100000"/>
              </a:lnSpc>
            </a:pPr>
            <a:endParaRPr lang="nl-NL" sz="1200" dirty="0"/>
          </a:p>
          <a:p>
            <a:pPr marL="0" indent="0">
              <a:lnSpc>
                <a:spcPct val="100000"/>
              </a:lnSpc>
              <a:buNone/>
            </a:pPr>
            <a:r>
              <a:rPr lang="nl-NL" sz="1200" dirty="0"/>
              <a:t>Met welke structuur zouden we het probleem kunnen onderzoeken zodat we daarna met onze eerste hypotheses terug kunnen komen bij de wethouder. Hoe begin je?</a:t>
            </a:r>
          </a:p>
          <a:p>
            <a:pPr algn="ctr">
              <a:lnSpc>
                <a:spcPct val="100000"/>
              </a:lnSpc>
              <a:buClr>
                <a:schemeClr val="tx2"/>
              </a:buClr>
            </a:pPr>
            <a:endParaRPr kumimoji="0" lang="nl-NL" sz="1400" i="0" u="none" strike="noStrike" kern="1200" cap="none" spc="0" normalizeH="0" baseline="0" noProof="0" dirty="0">
              <a:ln>
                <a:noFill/>
              </a:ln>
              <a:effectLst/>
              <a:uLnTx/>
              <a:uFillTx/>
              <a:latin typeface="Corbel" panose="020B0503020204020204" pitchFamily="34" charset="0"/>
              <a:ea typeface="+mn-ea"/>
              <a:cs typeface="+mn-cs"/>
            </a:endParaRPr>
          </a:p>
        </p:txBody>
      </p:sp>
      <p:grpSp>
        <p:nvGrpSpPr>
          <p:cNvPr id="21" name="Group 20">
            <a:extLst>
              <a:ext uri="{FF2B5EF4-FFF2-40B4-BE49-F238E27FC236}">
                <a16:creationId xmlns:a16="http://schemas.microsoft.com/office/drawing/2014/main" id="{C5578B65-C922-42B5-B58E-017E05320628}"/>
              </a:ext>
            </a:extLst>
          </p:cNvPr>
          <p:cNvGrpSpPr/>
          <p:nvPr/>
        </p:nvGrpSpPr>
        <p:grpSpPr>
          <a:xfrm>
            <a:off x="1444733" y="241300"/>
            <a:ext cx="504420" cy="348414"/>
            <a:chOff x="2836863" y="3201988"/>
            <a:chExt cx="2001837" cy="1382712"/>
          </a:xfrm>
          <a:solidFill>
            <a:srgbClr val="22777B"/>
          </a:solidFill>
        </p:grpSpPr>
        <p:sp>
          <p:nvSpPr>
            <p:cNvPr id="22" name="Freeform 1">
              <a:extLst>
                <a:ext uri="{FF2B5EF4-FFF2-40B4-BE49-F238E27FC236}">
                  <a16:creationId xmlns:a16="http://schemas.microsoft.com/office/drawing/2014/main" id="{3B7896AF-670D-49F2-865F-D697DA861715}"/>
                </a:ext>
              </a:extLst>
            </p:cNvPr>
            <p:cNvSpPr>
              <a:spLocks noChangeArrowheads="1"/>
            </p:cNvSpPr>
            <p:nvPr/>
          </p:nvSpPr>
          <p:spPr bwMode="auto">
            <a:xfrm>
              <a:off x="2870200" y="3246438"/>
              <a:ext cx="1450975" cy="1247775"/>
            </a:xfrm>
            <a:custGeom>
              <a:avLst/>
              <a:gdLst>
                <a:gd name="T0" fmla="*/ 3625 w 4032"/>
                <a:gd name="T1" fmla="*/ 593 h 3468"/>
                <a:gd name="T2" fmla="*/ 3625 w 4032"/>
                <a:gd name="T3" fmla="*/ 593 h 3468"/>
                <a:gd name="T4" fmla="*/ 2000 w 4032"/>
                <a:gd name="T5" fmla="*/ 0 h 3468"/>
                <a:gd name="T6" fmla="*/ 593 w 4032"/>
                <a:gd name="T7" fmla="*/ 468 h 3468"/>
                <a:gd name="T8" fmla="*/ 593 w 4032"/>
                <a:gd name="T9" fmla="*/ 468 h 3468"/>
                <a:gd name="T10" fmla="*/ 31 w 4032"/>
                <a:gd name="T11" fmla="*/ 1531 h 3468"/>
                <a:gd name="T12" fmla="*/ 593 w 4032"/>
                <a:gd name="T13" fmla="*/ 2592 h 3468"/>
                <a:gd name="T14" fmla="*/ 500 w 4032"/>
                <a:gd name="T15" fmla="*/ 3374 h 3468"/>
                <a:gd name="T16" fmla="*/ 406 w 4032"/>
                <a:gd name="T17" fmla="*/ 3467 h 3468"/>
                <a:gd name="T18" fmla="*/ 531 w 4032"/>
                <a:gd name="T19" fmla="*/ 3467 h 3468"/>
                <a:gd name="T20" fmla="*/ 1343 w 4032"/>
                <a:gd name="T21" fmla="*/ 2967 h 3468"/>
                <a:gd name="T22" fmla="*/ 2093 w 4032"/>
                <a:gd name="T23" fmla="*/ 3030 h 3468"/>
                <a:gd name="T24" fmla="*/ 3531 w 4032"/>
                <a:gd name="T25" fmla="*/ 2592 h 3468"/>
                <a:gd name="T26" fmla="*/ 4031 w 4032"/>
                <a:gd name="T27" fmla="*/ 1531 h 3468"/>
                <a:gd name="T28" fmla="*/ 3625 w 4032"/>
                <a:gd name="T29" fmla="*/ 593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2" h="3468">
                  <a:moveTo>
                    <a:pt x="3625" y="593"/>
                  </a:moveTo>
                  <a:lnTo>
                    <a:pt x="3625" y="593"/>
                  </a:lnTo>
                  <a:cubicBezTo>
                    <a:pt x="3250" y="218"/>
                    <a:pt x="2625" y="0"/>
                    <a:pt x="2000" y="0"/>
                  </a:cubicBezTo>
                  <a:cubicBezTo>
                    <a:pt x="1468" y="0"/>
                    <a:pt x="1000" y="156"/>
                    <a:pt x="593" y="468"/>
                  </a:cubicBezTo>
                  <a:lnTo>
                    <a:pt x="593" y="468"/>
                  </a:lnTo>
                  <a:cubicBezTo>
                    <a:pt x="218" y="781"/>
                    <a:pt x="0" y="1156"/>
                    <a:pt x="31" y="1531"/>
                  </a:cubicBezTo>
                  <a:cubicBezTo>
                    <a:pt x="62" y="2217"/>
                    <a:pt x="500" y="2530"/>
                    <a:pt x="593" y="2592"/>
                  </a:cubicBezTo>
                  <a:cubicBezTo>
                    <a:pt x="625" y="2717"/>
                    <a:pt x="687" y="3092"/>
                    <a:pt x="500" y="3374"/>
                  </a:cubicBezTo>
                  <a:cubicBezTo>
                    <a:pt x="406" y="3467"/>
                    <a:pt x="406" y="3467"/>
                    <a:pt x="406" y="3467"/>
                  </a:cubicBezTo>
                  <a:cubicBezTo>
                    <a:pt x="531" y="3467"/>
                    <a:pt x="531" y="3467"/>
                    <a:pt x="531" y="3467"/>
                  </a:cubicBezTo>
                  <a:cubicBezTo>
                    <a:pt x="1000" y="3436"/>
                    <a:pt x="1281" y="3092"/>
                    <a:pt x="1343" y="2967"/>
                  </a:cubicBezTo>
                  <a:cubicBezTo>
                    <a:pt x="1437" y="2999"/>
                    <a:pt x="1718" y="3061"/>
                    <a:pt x="2093" y="3030"/>
                  </a:cubicBezTo>
                  <a:cubicBezTo>
                    <a:pt x="2656" y="3030"/>
                    <a:pt x="3156" y="2874"/>
                    <a:pt x="3531" y="2592"/>
                  </a:cubicBezTo>
                  <a:cubicBezTo>
                    <a:pt x="3843" y="2280"/>
                    <a:pt x="4031" y="1905"/>
                    <a:pt x="4031" y="1531"/>
                  </a:cubicBezTo>
                  <a:cubicBezTo>
                    <a:pt x="4031" y="1218"/>
                    <a:pt x="3906" y="906"/>
                    <a:pt x="3625" y="5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3" name="Freeform 2">
              <a:extLst>
                <a:ext uri="{FF2B5EF4-FFF2-40B4-BE49-F238E27FC236}">
                  <a16:creationId xmlns:a16="http://schemas.microsoft.com/office/drawing/2014/main" id="{CAD3F577-FAD4-4169-913E-31809A4FFBDC}"/>
                </a:ext>
              </a:extLst>
            </p:cNvPr>
            <p:cNvSpPr>
              <a:spLocks noChangeArrowheads="1"/>
            </p:cNvSpPr>
            <p:nvPr/>
          </p:nvSpPr>
          <p:spPr bwMode="auto">
            <a:xfrm>
              <a:off x="3983038" y="3201988"/>
              <a:ext cx="855662" cy="1338262"/>
            </a:xfrm>
            <a:custGeom>
              <a:avLst/>
              <a:gdLst>
                <a:gd name="T0" fmla="*/ 1781 w 2376"/>
                <a:gd name="T1" fmla="*/ 2811 h 3718"/>
                <a:gd name="T2" fmla="*/ 1781 w 2376"/>
                <a:gd name="T3" fmla="*/ 2811 h 3718"/>
                <a:gd name="T4" fmla="*/ 2375 w 2376"/>
                <a:gd name="T5" fmla="*/ 1687 h 3718"/>
                <a:gd name="T6" fmla="*/ 1750 w 2376"/>
                <a:gd name="T7" fmla="*/ 500 h 3718"/>
                <a:gd name="T8" fmla="*/ 282 w 2376"/>
                <a:gd name="T9" fmla="*/ 0 h 3718"/>
                <a:gd name="T10" fmla="*/ 0 w 2376"/>
                <a:gd name="T11" fmla="*/ 31 h 3718"/>
                <a:gd name="T12" fmla="*/ 782 w 2376"/>
                <a:gd name="T13" fmla="*/ 531 h 3718"/>
                <a:gd name="T14" fmla="*/ 1250 w 2376"/>
                <a:gd name="T15" fmla="*/ 1656 h 3718"/>
                <a:gd name="T16" fmla="*/ 625 w 2376"/>
                <a:gd name="T17" fmla="*/ 2905 h 3718"/>
                <a:gd name="T18" fmla="*/ 0 w 2376"/>
                <a:gd name="T19" fmla="*/ 3280 h 3718"/>
                <a:gd name="T20" fmla="*/ 875 w 2376"/>
                <a:gd name="T21" fmla="*/ 3249 h 3718"/>
                <a:gd name="T22" fmla="*/ 1938 w 2376"/>
                <a:gd name="T23" fmla="*/ 3717 h 3718"/>
                <a:gd name="T24" fmla="*/ 2219 w 2376"/>
                <a:gd name="T25" fmla="*/ 3717 h 3718"/>
                <a:gd name="T26" fmla="*/ 2032 w 2376"/>
                <a:gd name="T27" fmla="*/ 3530 h 3718"/>
                <a:gd name="T28" fmla="*/ 1781 w 2376"/>
                <a:gd name="T29" fmla="*/ 2811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6" h="3718">
                  <a:moveTo>
                    <a:pt x="1781" y="2811"/>
                  </a:moveTo>
                  <a:lnTo>
                    <a:pt x="1781" y="2811"/>
                  </a:lnTo>
                  <a:cubicBezTo>
                    <a:pt x="2157" y="2499"/>
                    <a:pt x="2375" y="2092"/>
                    <a:pt x="2375" y="1687"/>
                  </a:cubicBezTo>
                  <a:cubicBezTo>
                    <a:pt x="2375" y="1218"/>
                    <a:pt x="2188" y="812"/>
                    <a:pt x="1750" y="500"/>
                  </a:cubicBezTo>
                  <a:cubicBezTo>
                    <a:pt x="1344" y="187"/>
                    <a:pt x="844" y="0"/>
                    <a:pt x="282" y="0"/>
                  </a:cubicBezTo>
                  <a:cubicBezTo>
                    <a:pt x="188" y="0"/>
                    <a:pt x="94" y="0"/>
                    <a:pt x="0" y="31"/>
                  </a:cubicBezTo>
                  <a:cubicBezTo>
                    <a:pt x="282" y="125"/>
                    <a:pt x="563" y="312"/>
                    <a:pt x="782" y="531"/>
                  </a:cubicBezTo>
                  <a:cubicBezTo>
                    <a:pt x="1094" y="843"/>
                    <a:pt x="1250" y="1218"/>
                    <a:pt x="1250" y="1656"/>
                  </a:cubicBezTo>
                  <a:cubicBezTo>
                    <a:pt x="1250" y="2124"/>
                    <a:pt x="1032" y="2592"/>
                    <a:pt x="625" y="2905"/>
                  </a:cubicBezTo>
                  <a:cubicBezTo>
                    <a:pt x="438" y="3061"/>
                    <a:pt x="219" y="3186"/>
                    <a:pt x="0" y="3280"/>
                  </a:cubicBezTo>
                  <a:cubicBezTo>
                    <a:pt x="282" y="3311"/>
                    <a:pt x="563" y="3280"/>
                    <a:pt x="875" y="3249"/>
                  </a:cubicBezTo>
                  <a:cubicBezTo>
                    <a:pt x="1125" y="3561"/>
                    <a:pt x="1469" y="3717"/>
                    <a:pt x="1938" y="3717"/>
                  </a:cubicBezTo>
                  <a:cubicBezTo>
                    <a:pt x="2219" y="3717"/>
                    <a:pt x="2219" y="3717"/>
                    <a:pt x="2219" y="3717"/>
                  </a:cubicBezTo>
                  <a:cubicBezTo>
                    <a:pt x="2032" y="3530"/>
                    <a:pt x="2032" y="3530"/>
                    <a:pt x="2032" y="3530"/>
                  </a:cubicBezTo>
                  <a:cubicBezTo>
                    <a:pt x="1813" y="3311"/>
                    <a:pt x="1750" y="3092"/>
                    <a:pt x="1781" y="28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4" name="Freeform 3">
              <a:extLst>
                <a:ext uri="{FF2B5EF4-FFF2-40B4-BE49-F238E27FC236}">
                  <a16:creationId xmlns:a16="http://schemas.microsoft.com/office/drawing/2014/main" id="{8EDCAE06-9FA2-4B47-B181-6930B4A19E56}"/>
                </a:ext>
              </a:extLst>
            </p:cNvPr>
            <p:cNvSpPr>
              <a:spLocks noChangeArrowheads="1"/>
            </p:cNvSpPr>
            <p:nvPr/>
          </p:nvSpPr>
          <p:spPr bwMode="auto">
            <a:xfrm>
              <a:off x="2836863" y="3201988"/>
              <a:ext cx="1530350" cy="1382712"/>
            </a:xfrm>
            <a:custGeom>
              <a:avLst/>
              <a:gdLst>
                <a:gd name="T0" fmla="*/ 219 w 4251"/>
                <a:gd name="T1" fmla="*/ 3717 h 3843"/>
                <a:gd name="T2" fmla="*/ 219 w 4251"/>
                <a:gd name="T3" fmla="*/ 3717 h 3843"/>
                <a:gd name="T4" fmla="*/ 594 w 4251"/>
                <a:gd name="T5" fmla="*/ 2811 h 3843"/>
                <a:gd name="T6" fmla="*/ 0 w 4251"/>
                <a:gd name="T7" fmla="*/ 1656 h 3843"/>
                <a:gd name="T8" fmla="*/ 625 w 4251"/>
                <a:gd name="T9" fmla="*/ 500 h 3843"/>
                <a:gd name="T10" fmla="*/ 2094 w 4251"/>
                <a:gd name="T11" fmla="*/ 0 h 3843"/>
                <a:gd name="T12" fmla="*/ 2094 w 4251"/>
                <a:gd name="T13" fmla="*/ 0 h 3843"/>
                <a:gd name="T14" fmla="*/ 3781 w 4251"/>
                <a:gd name="T15" fmla="*/ 625 h 3843"/>
                <a:gd name="T16" fmla="*/ 4250 w 4251"/>
                <a:gd name="T17" fmla="*/ 1656 h 3843"/>
                <a:gd name="T18" fmla="*/ 3656 w 4251"/>
                <a:gd name="T19" fmla="*/ 2780 h 3843"/>
                <a:gd name="T20" fmla="*/ 1469 w 4251"/>
                <a:gd name="T21" fmla="*/ 3217 h 3843"/>
                <a:gd name="T22" fmla="*/ 219 w 4251"/>
                <a:gd name="T23" fmla="*/ 3717 h 3843"/>
                <a:gd name="T24" fmla="*/ 719 w 4251"/>
                <a:gd name="T25" fmla="*/ 625 h 3843"/>
                <a:gd name="T26" fmla="*/ 719 w 4251"/>
                <a:gd name="T27" fmla="*/ 625 h 3843"/>
                <a:gd name="T28" fmla="*/ 187 w 4251"/>
                <a:gd name="T29" fmla="*/ 1656 h 3843"/>
                <a:gd name="T30" fmla="*/ 750 w 4251"/>
                <a:gd name="T31" fmla="*/ 2686 h 3843"/>
                <a:gd name="T32" fmla="*/ 625 w 4251"/>
                <a:gd name="T33" fmla="*/ 3530 h 3843"/>
                <a:gd name="T34" fmla="*/ 1406 w 4251"/>
                <a:gd name="T35" fmla="*/ 3030 h 3843"/>
                <a:gd name="T36" fmla="*/ 3562 w 4251"/>
                <a:gd name="T37" fmla="*/ 2655 h 3843"/>
                <a:gd name="T38" fmla="*/ 4062 w 4251"/>
                <a:gd name="T39" fmla="*/ 1656 h 3843"/>
                <a:gd name="T40" fmla="*/ 3656 w 4251"/>
                <a:gd name="T41" fmla="*/ 750 h 3843"/>
                <a:gd name="T42" fmla="*/ 2094 w 4251"/>
                <a:gd name="T43" fmla="*/ 187 h 3843"/>
                <a:gd name="T44" fmla="*/ 719 w 4251"/>
                <a:gd name="T45" fmla="*/ 625 h 3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51" h="3843">
                  <a:moveTo>
                    <a:pt x="219" y="3717"/>
                  </a:moveTo>
                  <a:lnTo>
                    <a:pt x="219" y="3717"/>
                  </a:lnTo>
                  <a:cubicBezTo>
                    <a:pt x="219" y="3717"/>
                    <a:pt x="656" y="3342"/>
                    <a:pt x="594" y="2811"/>
                  </a:cubicBezTo>
                  <a:cubicBezTo>
                    <a:pt x="219" y="2499"/>
                    <a:pt x="0" y="2092"/>
                    <a:pt x="0" y="1656"/>
                  </a:cubicBezTo>
                  <a:cubicBezTo>
                    <a:pt x="0" y="1218"/>
                    <a:pt x="219" y="812"/>
                    <a:pt x="625" y="500"/>
                  </a:cubicBezTo>
                  <a:cubicBezTo>
                    <a:pt x="1031" y="187"/>
                    <a:pt x="1531" y="0"/>
                    <a:pt x="2094" y="0"/>
                  </a:cubicBezTo>
                  <a:lnTo>
                    <a:pt x="2094" y="0"/>
                  </a:lnTo>
                  <a:cubicBezTo>
                    <a:pt x="2781" y="0"/>
                    <a:pt x="3375" y="218"/>
                    <a:pt x="3781" y="625"/>
                  </a:cubicBezTo>
                  <a:cubicBezTo>
                    <a:pt x="4094" y="937"/>
                    <a:pt x="4250" y="1281"/>
                    <a:pt x="4250" y="1656"/>
                  </a:cubicBezTo>
                  <a:cubicBezTo>
                    <a:pt x="4250" y="2092"/>
                    <a:pt x="4031" y="2499"/>
                    <a:pt x="3656" y="2780"/>
                  </a:cubicBezTo>
                  <a:cubicBezTo>
                    <a:pt x="3125" y="3217"/>
                    <a:pt x="2344" y="3374"/>
                    <a:pt x="1469" y="3217"/>
                  </a:cubicBezTo>
                  <a:cubicBezTo>
                    <a:pt x="1125" y="3842"/>
                    <a:pt x="219" y="3717"/>
                    <a:pt x="219" y="3717"/>
                  </a:cubicBezTo>
                  <a:close/>
                  <a:moveTo>
                    <a:pt x="719" y="625"/>
                  </a:moveTo>
                  <a:lnTo>
                    <a:pt x="719" y="625"/>
                  </a:lnTo>
                  <a:cubicBezTo>
                    <a:pt x="375" y="906"/>
                    <a:pt x="156" y="1281"/>
                    <a:pt x="187" y="1656"/>
                  </a:cubicBezTo>
                  <a:cubicBezTo>
                    <a:pt x="219" y="2374"/>
                    <a:pt x="750" y="2686"/>
                    <a:pt x="750" y="2686"/>
                  </a:cubicBezTo>
                  <a:cubicBezTo>
                    <a:pt x="750" y="2686"/>
                    <a:pt x="875" y="3186"/>
                    <a:pt x="625" y="3530"/>
                  </a:cubicBezTo>
                  <a:cubicBezTo>
                    <a:pt x="1125" y="3499"/>
                    <a:pt x="1406" y="3030"/>
                    <a:pt x="1406" y="3030"/>
                  </a:cubicBezTo>
                  <a:cubicBezTo>
                    <a:pt x="1406" y="3030"/>
                    <a:pt x="2719" y="3342"/>
                    <a:pt x="3562" y="2655"/>
                  </a:cubicBezTo>
                  <a:cubicBezTo>
                    <a:pt x="3875" y="2374"/>
                    <a:pt x="4062" y="2030"/>
                    <a:pt x="4062" y="1656"/>
                  </a:cubicBezTo>
                  <a:cubicBezTo>
                    <a:pt x="4062" y="1312"/>
                    <a:pt x="3906" y="1031"/>
                    <a:pt x="3656" y="750"/>
                  </a:cubicBezTo>
                  <a:cubicBezTo>
                    <a:pt x="3281" y="375"/>
                    <a:pt x="2656" y="187"/>
                    <a:pt x="2094" y="187"/>
                  </a:cubicBezTo>
                  <a:cubicBezTo>
                    <a:pt x="1562" y="187"/>
                    <a:pt x="1094" y="343"/>
                    <a:pt x="719" y="62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17" name="Oval 16">
            <a:extLst>
              <a:ext uri="{FF2B5EF4-FFF2-40B4-BE49-F238E27FC236}">
                <a16:creationId xmlns:a16="http://schemas.microsoft.com/office/drawing/2014/main" id="{81CF0B15-F031-4AF7-B652-ABA92EA1C214}"/>
              </a:ext>
            </a:extLst>
          </p:cNvPr>
          <p:cNvSpPr/>
          <p:nvPr/>
        </p:nvSpPr>
        <p:spPr>
          <a:xfrm>
            <a:off x="10250705" y="36609"/>
            <a:ext cx="148708" cy="148708"/>
          </a:xfrm>
          <a:prstGeom prst="ellipse">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95C5C9"/>
              </a:solidFill>
              <a:effectLst/>
              <a:uLnTx/>
              <a:uFillTx/>
              <a:latin typeface="Corbel" panose="020B0503020204020204" pitchFamily="34" charset="0"/>
              <a:ea typeface="+mn-ea"/>
              <a:cs typeface="+mn-cs"/>
            </a:endParaRPr>
          </a:p>
        </p:txBody>
      </p:sp>
      <p:sp>
        <p:nvSpPr>
          <p:cNvPr id="18" name="TextBox 17">
            <a:extLst>
              <a:ext uri="{FF2B5EF4-FFF2-40B4-BE49-F238E27FC236}">
                <a16:creationId xmlns:a16="http://schemas.microsoft.com/office/drawing/2014/main" id="{54333A3E-F8F9-48B0-AA3F-8FF795166FC8}"/>
              </a:ext>
            </a:extLst>
          </p:cNvPr>
          <p:cNvSpPr txBox="1"/>
          <p:nvPr/>
        </p:nvSpPr>
        <p:spPr>
          <a:xfrm>
            <a:off x="10067055"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1</a:t>
            </a:r>
            <a:endParaRPr lang="nl-NL" noProof="0" dirty="0">
              <a:solidFill>
                <a:srgbClr val="95C5C9"/>
              </a:solidFill>
            </a:endParaRPr>
          </a:p>
        </p:txBody>
      </p:sp>
      <p:sp>
        <p:nvSpPr>
          <p:cNvPr id="19" name="TextBox 18">
            <a:extLst>
              <a:ext uri="{FF2B5EF4-FFF2-40B4-BE49-F238E27FC236}">
                <a16:creationId xmlns:a16="http://schemas.microsoft.com/office/drawing/2014/main" id="{F11BAC19-BDC6-4E18-91B2-ACB72F19CEBF}"/>
              </a:ext>
            </a:extLst>
          </p:cNvPr>
          <p:cNvSpPr txBox="1"/>
          <p:nvPr/>
        </p:nvSpPr>
        <p:spPr>
          <a:xfrm>
            <a:off x="10256482" y="40328"/>
            <a:ext cx="137154" cy="141270"/>
          </a:xfrm>
          <a:prstGeom prst="rect">
            <a:avLst/>
          </a:prstGeom>
        </p:spPr>
        <p:txBody>
          <a:bodyPr vert="horz" wrap="square" lIns="0" tIns="0" rIns="0" bIns="0" rtlCol="0" anchor="ctr">
            <a:noAutofit/>
          </a:bodyPr>
          <a:lstStyle/>
          <a:p>
            <a:pPr marL="0" indent="0" algn="ctr">
              <a:buNone/>
            </a:pPr>
            <a:r>
              <a:rPr lang="nl-NL" sz="1000" b="1" noProof="0" dirty="0">
                <a:solidFill>
                  <a:srgbClr val="95C5C9"/>
                </a:solidFill>
              </a:rPr>
              <a:t>2</a:t>
            </a:r>
          </a:p>
        </p:txBody>
      </p:sp>
      <p:sp>
        <p:nvSpPr>
          <p:cNvPr id="20" name="TextBox 19">
            <a:extLst>
              <a:ext uri="{FF2B5EF4-FFF2-40B4-BE49-F238E27FC236}">
                <a16:creationId xmlns:a16="http://schemas.microsoft.com/office/drawing/2014/main" id="{BB2F4E2A-8086-4D51-9AA8-7AC4ECAAF631}"/>
              </a:ext>
            </a:extLst>
          </p:cNvPr>
          <p:cNvSpPr txBox="1"/>
          <p:nvPr/>
        </p:nvSpPr>
        <p:spPr>
          <a:xfrm>
            <a:off x="10445909"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3</a:t>
            </a:r>
          </a:p>
        </p:txBody>
      </p:sp>
      <p:sp>
        <p:nvSpPr>
          <p:cNvPr id="25" name="TextBox 24">
            <a:extLst>
              <a:ext uri="{FF2B5EF4-FFF2-40B4-BE49-F238E27FC236}">
                <a16:creationId xmlns:a16="http://schemas.microsoft.com/office/drawing/2014/main" id="{ADD710EE-0F34-4A87-8A36-0E242C9E6556}"/>
              </a:ext>
            </a:extLst>
          </p:cNvPr>
          <p:cNvSpPr txBox="1"/>
          <p:nvPr/>
        </p:nvSpPr>
        <p:spPr>
          <a:xfrm>
            <a:off x="10635336"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4</a:t>
            </a:r>
            <a:endParaRPr lang="nl-NL" noProof="0" dirty="0">
              <a:solidFill>
                <a:srgbClr val="95C5C9"/>
              </a:solidFill>
            </a:endParaRPr>
          </a:p>
        </p:txBody>
      </p:sp>
      <p:sp>
        <p:nvSpPr>
          <p:cNvPr id="26" name="TextBox 25">
            <a:extLst>
              <a:ext uri="{FF2B5EF4-FFF2-40B4-BE49-F238E27FC236}">
                <a16:creationId xmlns:a16="http://schemas.microsoft.com/office/drawing/2014/main" id="{792CF7E5-8998-4A1D-8510-1A9E889D6396}"/>
              </a:ext>
            </a:extLst>
          </p:cNvPr>
          <p:cNvSpPr txBox="1"/>
          <p:nvPr/>
        </p:nvSpPr>
        <p:spPr>
          <a:xfrm>
            <a:off x="10824763"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5</a:t>
            </a:r>
            <a:endParaRPr lang="nl-NL" sz="1000" noProof="0" dirty="0">
              <a:solidFill>
                <a:srgbClr val="95C5C9"/>
              </a:solidFill>
            </a:endParaRPr>
          </a:p>
        </p:txBody>
      </p:sp>
      <p:sp>
        <p:nvSpPr>
          <p:cNvPr id="27" name="TextBox 26">
            <a:extLst>
              <a:ext uri="{FF2B5EF4-FFF2-40B4-BE49-F238E27FC236}">
                <a16:creationId xmlns:a16="http://schemas.microsoft.com/office/drawing/2014/main" id="{E40D0D37-126A-46F7-AC8C-5DCE0F803697}"/>
              </a:ext>
            </a:extLst>
          </p:cNvPr>
          <p:cNvSpPr txBox="1"/>
          <p:nvPr/>
        </p:nvSpPr>
        <p:spPr>
          <a:xfrm>
            <a:off x="11014190"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6</a:t>
            </a:r>
          </a:p>
        </p:txBody>
      </p:sp>
      <p:sp>
        <p:nvSpPr>
          <p:cNvPr id="28" name="TextBox 27">
            <a:extLst>
              <a:ext uri="{FF2B5EF4-FFF2-40B4-BE49-F238E27FC236}">
                <a16:creationId xmlns:a16="http://schemas.microsoft.com/office/drawing/2014/main" id="{D86987AA-49C4-4B15-83B2-6E315FA0C4A2}"/>
              </a:ext>
            </a:extLst>
          </p:cNvPr>
          <p:cNvSpPr txBox="1"/>
          <p:nvPr/>
        </p:nvSpPr>
        <p:spPr>
          <a:xfrm>
            <a:off x="11203617"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7</a:t>
            </a:r>
            <a:endParaRPr lang="nl-NL" sz="1000" noProof="0" dirty="0">
              <a:solidFill>
                <a:srgbClr val="95C5C9"/>
              </a:solidFill>
            </a:endParaRPr>
          </a:p>
        </p:txBody>
      </p:sp>
    </p:spTree>
    <p:extLst>
      <p:ext uri="{BB962C8B-B14F-4D97-AF65-F5344CB8AC3E}">
        <p14:creationId xmlns:p14="http://schemas.microsoft.com/office/powerpoint/2010/main" val="25734094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ABE98B0-3C8A-43C8-8200-5975A1E67A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18"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CABE98B0-3C8A-43C8-8200-5975A1E67A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1442" name="Picture 2">
            <a:extLst>
              <a:ext uri="{FF2B5EF4-FFF2-40B4-BE49-F238E27FC236}">
                <a16:creationId xmlns:a16="http://schemas.microsoft.com/office/drawing/2014/main" id="{F31421FC-687C-4775-BBCA-9AC90E0C78E6}"/>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D85439E5-6E0C-4BFB-9E2A-FA280E638BDE}"/>
              </a:ext>
            </a:extLst>
          </p:cNvPr>
          <p:cNvSpPr/>
          <p:nvPr/>
        </p:nvSpPr>
        <p:spPr>
          <a:xfrm>
            <a:off x="3557" y="0"/>
            <a:ext cx="12192000" cy="6858001"/>
          </a:xfrm>
          <a:prstGeom prst="rect">
            <a:avLst/>
          </a:prstGeom>
          <a:solidFill>
            <a:schemeClr val="bg1">
              <a:lumMod val="95000"/>
              <a:alpha val="88000"/>
            </a:schemeClr>
          </a:solidFill>
          <a:ln>
            <a:noFill/>
          </a:ln>
        </p:spPr>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0" indent="0">
              <a:lnSpc>
                <a:spcPct val="100000"/>
              </a:lnSpc>
              <a:buNone/>
            </a:pPr>
            <a:r>
              <a:rPr lang="nl-NL" sz="4400" b="1" dirty="0">
                <a:solidFill>
                  <a:srgbClr val="22777B"/>
                </a:solidFill>
              </a:rPr>
              <a:t>Vraag 3</a:t>
            </a:r>
          </a:p>
          <a:p>
            <a:pPr marL="0" indent="0">
              <a:lnSpc>
                <a:spcPct val="100000"/>
              </a:lnSpc>
              <a:buNone/>
            </a:pPr>
            <a:br>
              <a:rPr lang="nl-NL" sz="2400" b="1" dirty="0"/>
            </a:br>
            <a:r>
              <a:rPr lang="nl-NL" sz="2400" dirty="0"/>
              <a:t>Kijk, ik denk dat we zo een goed beeld kunnen krijgen van het tekort. Zoals ik eerder aangaf is het tekort een stuk groter in Amsterdam dan andere plekken in Nederland, wat zouden de redenen daarvoor kunnen zijn?</a:t>
            </a:r>
          </a:p>
        </p:txBody>
      </p:sp>
      <p:grpSp>
        <p:nvGrpSpPr>
          <p:cNvPr id="21" name="Group 20">
            <a:extLst>
              <a:ext uri="{FF2B5EF4-FFF2-40B4-BE49-F238E27FC236}">
                <a16:creationId xmlns:a16="http://schemas.microsoft.com/office/drawing/2014/main" id="{C5578B65-C922-42B5-B58E-017E05320628}"/>
              </a:ext>
            </a:extLst>
          </p:cNvPr>
          <p:cNvGrpSpPr/>
          <p:nvPr/>
        </p:nvGrpSpPr>
        <p:grpSpPr>
          <a:xfrm>
            <a:off x="2192835" y="237963"/>
            <a:ext cx="736493" cy="508712"/>
            <a:chOff x="2836863" y="3201988"/>
            <a:chExt cx="2001837" cy="1382712"/>
          </a:xfrm>
          <a:solidFill>
            <a:srgbClr val="22777B"/>
          </a:solidFill>
        </p:grpSpPr>
        <p:sp>
          <p:nvSpPr>
            <p:cNvPr id="22" name="Freeform 1">
              <a:extLst>
                <a:ext uri="{FF2B5EF4-FFF2-40B4-BE49-F238E27FC236}">
                  <a16:creationId xmlns:a16="http://schemas.microsoft.com/office/drawing/2014/main" id="{3B7896AF-670D-49F2-865F-D697DA861715}"/>
                </a:ext>
              </a:extLst>
            </p:cNvPr>
            <p:cNvSpPr>
              <a:spLocks noChangeArrowheads="1"/>
            </p:cNvSpPr>
            <p:nvPr/>
          </p:nvSpPr>
          <p:spPr bwMode="auto">
            <a:xfrm>
              <a:off x="2870200" y="3246438"/>
              <a:ext cx="1450975" cy="1247775"/>
            </a:xfrm>
            <a:custGeom>
              <a:avLst/>
              <a:gdLst>
                <a:gd name="T0" fmla="*/ 3625 w 4032"/>
                <a:gd name="T1" fmla="*/ 593 h 3468"/>
                <a:gd name="T2" fmla="*/ 3625 w 4032"/>
                <a:gd name="T3" fmla="*/ 593 h 3468"/>
                <a:gd name="T4" fmla="*/ 2000 w 4032"/>
                <a:gd name="T5" fmla="*/ 0 h 3468"/>
                <a:gd name="T6" fmla="*/ 593 w 4032"/>
                <a:gd name="T7" fmla="*/ 468 h 3468"/>
                <a:gd name="T8" fmla="*/ 593 w 4032"/>
                <a:gd name="T9" fmla="*/ 468 h 3468"/>
                <a:gd name="T10" fmla="*/ 31 w 4032"/>
                <a:gd name="T11" fmla="*/ 1531 h 3468"/>
                <a:gd name="T12" fmla="*/ 593 w 4032"/>
                <a:gd name="T13" fmla="*/ 2592 h 3468"/>
                <a:gd name="T14" fmla="*/ 500 w 4032"/>
                <a:gd name="T15" fmla="*/ 3374 h 3468"/>
                <a:gd name="T16" fmla="*/ 406 w 4032"/>
                <a:gd name="T17" fmla="*/ 3467 h 3468"/>
                <a:gd name="T18" fmla="*/ 531 w 4032"/>
                <a:gd name="T19" fmla="*/ 3467 h 3468"/>
                <a:gd name="T20" fmla="*/ 1343 w 4032"/>
                <a:gd name="T21" fmla="*/ 2967 h 3468"/>
                <a:gd name="T22" fmla="*/ 2093 w 4032"/>
                <a:gd name="T23" fmla="*/ 3030 h 3468"/>
                <a:gd name="T24" fmla="*/ 3531 w 4032"/>
                <a:gd name="T25" fmla="*/ 2592 h 3468"/>
                <a:gd name="T26" fmla="*/ 4031 w 4032"/>
                <a:gd name="T27" fmla="*/ 1531 h 3468"/>
                <a:gd name="T28" fmla="*/ 3625 w 4032"/>
                <a:gd name="T29" fmla="*/ 593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2" h="3468">
                  <a:moveTo>
                    <a:pt x="3625" y="593"/>
                  </a:moveTo>
                  <a:lnTo>
                    <a:pt x="3625" y="593"/>
                  </a:lnTo>
                  <a:cubicBezTo>
                    <a:pt x="3250" y="218"/>
                    <a:pt x="2625" y="0"/>
                    <a:pt x="2000" y="0"/>
                  </a:cubicBezTo>
                  <a:cubicBezTo>
                    <a:pt x="1468" y="0"/>
                    <a:pt x="1000" y="156"/>
                    <a:pt x="593" y="468"/>
                  </a:cubicBezTo>
                  <a:lnTo>
                    <a:pt x="593" y="468"/>
                  </a:lnTo>
                  <a:cubicBezTo>
                    <a:pt x="218" y="781"/>
                    <a:pt x="0" y="1156"/>
                    <a:pt x="31" y="1531"/>
                  </a:cubicBezTo>
                  <a:cubicBezTo>
                    <a:pt x="62" y="2217"/>
                    <a:pt x="500" y="2530"/>
                    <a:pt x="593" y="2592"/>
                  </a:cubicBezTo>
                  <a:cubicBezTo>
                    <a:pt x="625" y="2717"/>
                    <a:pt x="687" y="3092"/>
                    <a:pt x="500" y="3374"/>
                  </a:cubicBezTo>
                  <a:cubicBezTo>
                    <a:pt x="406" y="3467"/>
                    <a:pt x="406" y="3467"/>
                    <a:pt x="406" y="3467"/>
                  </a:cubicBezTo>
                  <a:cubicBezTo>
                    <a:pt x="531" y="3467"/>
                    <a:pt x="531" y="3467"/>
                    <a:pt x="531" y="3467"/>
                  </a:cubicBezTo>
                  <a:cubicBezTo>
                    <a:pt x="1000" y="3436"/>
                    <a:pt x="1281" y="3092"/>
                    <a:pt x="1343" y="2967"/>
                  </a:cubicBezTo>
                  <a:cubicBezTo>
                    <a:pt x="1437" y="2999"/>
                    <a:pt x="1718" y="3061"/>
                    <a:pt x="2093" y="3030"/>
                  </a:cubicBezTo>
                  <a:cubicBezTo>
                    <a:pt x="2656" y="3030"/>
                    <a:pt x="3156" y="2874"/>
                    <a:pt x="3531" y="2592"/>
                  </a:cubicBezTo>
                  <a:cubicBezTo>
                    <a:pt x="3843" y="2280"/>
                    <a:pt x="4031" y="1905"/>
                    <a:pt x="4031" y="1531"/>
                  </a:cubicBezTo>
                  <a:cubicBezTo>
                    <a:pt x="4031" y="1218"/>
                    <a:pt x="3906" y="906"/>
                    <a:pt x="3625" y="5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22777B"/>
                </a:solidFill>
              </a:endParaRPr>
            </a:p>
          </p:txBody>
        </p:sp>
        <p:sp>
          <p:nvSpPr>
            <p:cNvPr id="23" name="Freeform 2">
              <a:extLst>
                <a:ext uri="{FF2B5EF4-FFF2-40B4-BE49-F238E27FC236}">
                  <a16:creationId xmlns:a16="http://schemas.microsoft.com/office/drawing/2014/main" id="{CAD3F577-FAD4-4169-913E-31809A4FFBDC}"/>
                </a:ext>
              </a:extLst>
            </p:cNvPr>
            <p:cNvSpPr>
              <a:spLocks noChangeArrowheads="1"/>
            </p:cNvSpPr>
            <p:nvPr/>
          </p:nvSpPr>
          <p:spPr bwMode="auto">
            <a:xfrm>
              <a:off x="3983038" y="3201988"/>
              <a:ext cx="855662" cy="1338262"/>
            </a:xfrm>
            <a:custGeom>
              <a:avLst/>
              <a:gdLst>
                <a:gd name="T0" fmla="*/ 1781 w 2376"/>
                <a:gd name="T1" fmla="*/ 2811 h 3718"/>
                <a:gd name="T2" fmla="*/ 1781 w 2376"/>
                <a:gd name="T3" fmla="*/ 2811 h 3718"/>
                <a:gd name="T4" fmla="*/ 2375 w 2376"/>
                <a:gd name="T5" fmla="*/ 1687 h 3718"/>
                <a:gd name="T6" fmla="*/ 1750 w 2376"/>
                <a:gd name="T7" fmla="*/ 500 h 3718"/>
                <a:gd name="T8" fmla="*/ 282 w 2376"/>
                <a:gd name="T9" fmla="*/ 0 h 3718"/>
                <a:gd name="T10" fmla="*/ 0 w 2376"/>
                <a:gd name="T11" fmla="*/ 31 h 3718"/>
                <a:gd name="T12" fmla="*/ 782 w 2376"/>
                <a:gd name="T13" fmla="*/ 531 h 3718"/>
                <a:gd name="T14" fmla="*/ 1250 w 2376"/>
                <a:gd name="T15" fmla="*/ 1656 h 3718"/>
                <a:gd name="T16" fmla="*/ 625 w 2376"/>
                <a:gd name="T17" fmla="*/ 2905 h 3718"/>
                <a:gd name="T18" fmla="*/ 0 w 2376"/>
                <a:gd name="T19" fmla="*/ 3280 h 3718"/>
                <a:gd name="T20" fmla="*/ 875 w 2376"/>
                <a:gd name="T21" fmla="*/ 3249 h 3718"/>
                <a:gd name="T22" fmla="*/ 1938 w 2376"/>
                <a:gd name="T23" fmla="*/ 3717 h 3718"/>
                <a:gd name="T24" fmla="*/ 2219 w 2376"/>
                <a:gd name="T25" fmla="*/ 3717 h 3718"/>
                <a:gd name="T26" fmla="*/ 2032 w 2376"/>
                <a:gd name="T27" fmla="*/ 3530 h 3718"/>
                <a:gd name="T28" fmla="*/ 1781 w 2376"/>
                <a:gd name="T29" fmla="*/ 2811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6" h="3718">
                  <a:moveTo>
                    <a:pt x="1781" y="2811"/>
                  </a:moveTo>
                  <a:lnTo>
                    <a:pt x="1781" y="2811"/>
                  </a:lnTo>
                  <a:cubicBezTo>
                    <a:pt x="2157" y="2499"/>
                    <a:pt x="2375" y="2092"/>
                    <a:pt x="2375" y="1687"/>
                  </a:cubicBezTo>
                  <a:cubicBezTo>
                    <a:pt x="2375" y="1218"/>
                    <a:pt x="2188" y="812"/>
                    <a:pt x="1750" y="500"/>
                  </a:cubicBezTo>
                  <a:cubicBezTo>
                    <a:pt x="1344" y="187"/>
                    <a:pt x="844" y="0"/>
                    <a:pt x="282" y="0"/>
                  </a:cubicBezTo>
                  <a:cubicBezTo>
                    <a:pt x="188" y="0"/>
                    <a:pt x="94" y="0"/>
                    <a:pt x="0" y="31"/>
                  </a:cubicBezTo>
                  <a:cubicBezTo>
                    <a:pt x="282" y="125"/>
                    <a:pt x="563" y="312"/>
                    <a:pt x="782" y="531"/>
                  </a:cubicBezTo>
                  <a:cubicBezTo>
                    <a:pt x="1094" y="843"/>
                    <a:pt x="1250" y="1218"/>
                    <a:pt x="1250" y="1656"/>
                  </a:cubicBezTo>
                  <a:cubicBezTo>
                    <a:pt x="1250" y="2124"/>
                    <a:pt x="1032" y="2592"/>
                    <a:pt x="625" y="2905"/>
                  </a:cubicBezTo>
                  <a:cubicBezTo>
                    <a:pt x="438" y="3061"/>
                    <a:pt x="219" y="3186"/>
                    <a:pt x="0" y="3280"/>
                  </a:cubicBezTo>
                  <a:cubicBezTo>
                    <a:pt x="282" y="3311"/>
                    <a:pt x="563" y="3280"/>
                    <a:pt x="875" y="3249"/>
                  </a:cubicBezTo>
                  <a:cubicBezTo>
                    <a:pt x="1125" y="3561"/>
                    <a:pt x="1469" y="3717"/>
                    <a:pt x="1938" y="3717"/>
                  </a:cubicBezTo>
                  <a:cubicBezTo>
                    <a:pt x="2219" y="3717"/>
                    <a:pt x="2219" y="3717"/>
                    <a:pt x="2219" y="3717"/>
                  </a:cubicBezTo>
                  <a:cubicBezTo>
                    <a:pt x="2032" y="3530"/>
                    <a:pt x="2032" y="3530"/>
                    <a:pt x="2032" y="3530"/>
                  </a:cubicBezTo>
                  <a:cubicBezTo>
                    <a:pt x="1813" y="3311"/>
                    <a:pt x="1750" y="3092"/>
                    <a:pt x="1781" y="28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22777B"/>
                </a:solidFill>
              </a:endParaRPr>
            </a:p>
          </p:txBody>
        </p:sp>
        <p:sp>
          <p:nvSpPr>
            <p:cNvPr id="24" name="Freeform 3">
              <a:extLst>
                <a:ext uri="{FF2B5EF4-FFF2-40B4-BE49-F238E27FC236}">
                  <a16:creationId xmlns:a16="http://schemas.microsoft.com/office/drawing/2014/main" id="{8EDCAE06-9FA2-4B47-B181-6930B4A19E56}"/>
                </a:ext>
              </a:extLst>
            </p:cNvPr>
            <p:cNvSpPr>
              <a:spLocks noChangeArrowheads="1"/>
            </p:cNvSpPr>
            <p:nvPr/>
          </p:nvSpPr>
          <p:spPr bwMode="auto">
            <a:xfrm>
              <a:off x="2836863" y="3201988"/>
              <a:ext cx="1530350" cy="1382712"/>
            </a:xfrm>
            <a:custGeom>
              <a:avLst/>
              <a:gdLst>
                <a:gd name="T0" fmla="*/ 219 w 4251"/>
                <a:gd name="T1" fmla="*/ 3717 h 3843"/>
                <a:gd name="T2" fmla="*/ 219 w 4251"/>
                <a:gd name="T3" fmla="*/ 3717 h 3843"/>
                <a:gd name="T4" fmla="*/ 594 w 4251"/>
                <a:gd name="T5" fmla="*/ 2811 h 3843"/>
                <a:gd name="T6" fmla="*/ 0 w 4251"/>
                <a:gd name="T7" fmla="*/ 1656 h 3843"/>
                <a:gd name="T8" fmla="*/ 625 w 4251"/>
                <a:gd name="T9" fmla="*/ 500 h 3843"/>
                <a:gd name="T10" fmla="*/ 2094 w 4251"/>
                <a:gd name="T11" fmla="*/ 0 h 3843"/>
                <a:gd name="T12" fmla="*/ 2094 w 4251"/>
                <a:gd name="T13" fmla="*/ 0 h 3843"/>
                <a:gd name="T14" fmla="*/ 3781 w 4251"/>
                <a:gd name="T15" fmla="*/ 625 h 3843"/>
                <a:gd name="T16" fmla="*/ 4250 w 4251"/>
                <a:gd name="T17" fmla="*/ 1656 h 3843"/>
                <a:gd name="T18" fmla="*/ 3656 w 4251"/>
                <a:gd name="T19" fmla="*/ 2780 h 3843"/>
                <a:gd name="T20" fmla="*/ 1469 w 4251"/>
                <a:gd name="T21" fmla="*/ 3217 h 3843"/>
                <a:gd name="T22" fmla="*/ 219 w 4251"/>
                <a:gd name="T23" fmla="*/ 3717 h 3843"/>
                <a:gd name="T24" fmla="*/ 719 w 4251"/>
                <a:gd name="T25" fmla="*/ 625 h 3843"/>
                <a:gd name="T26" fmla="*/ 719 w 4251"/>
                <a:gd name="T27" fmla="*/ 625 h 3843"/>
                <a:gd name="T28" fmla="*/ 187 w 4251"/>
                <a:gd name="T29" fmla="*/ 1656 h 3843"/>
                <a:gd name="T30" fmla="*/ 750 w 4251"/>
                <a:gd name="T31" fmla="*/ 2686 h 3843"/>
                <a:gd name="T32" fmla="*/ 625 w 4251"/>
                <a:gd name="T33" fmla="*/ 3530 h 3843"/>
                <a:gd name="T34" fmla="*/ 1406 w 4251"/>
                <a:gd name="T35" fmla="*/ 3030 h 3843"/>
                <a:gd name="T36" fmla="*/ 3562 w 4251"/>
                <a:gd name="T37" fmla="*/ 2655 h 3843"/>
                <a:gd name="T38" fmla="*/ 4062 w 4251"/>
                <a:gd name="T39" fmla="*/ 1656 h 3843"/>
                <a:gd name="T40" fmla="*/ 3656 w 4251"/>
                <a:gd name="T41" fmla="*/ 750 h 3843"/>
                <a:gd name="T42" fmla="*/ 2094 w 4251"/>
                <a:gd name="T43" fmla="*/ 187 h 3843"/>
                <a:gd name="T44" fmla="*/ 719 w 4251"/>
                <a:gd name="T45" fmla="*/ 625 h 3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51" h="3843">
                  <a:moveTo>
                    <a:pt x="219" y="3717"/>
                  </a:moveTo>
                  <a:lnTo>
                    <a:pt x="219" y="3717"/>
                  </a:lnTo>
                  <a:cubicBezTo>
                    <a:pt x="219" y="3717"/>
                    <a:pt x="656" y="3342"/>
                    <a:pt x="594" y="2811"/>
                  </a:cubicBezTo>
                  <a:cubicBezTo>
                    <a:pt x="219" y="2499"/>
                    <a:pt x="0" y="2092"/>
                    <a:pt x="0" y="1656"/>
                  </a:cubicBezTo>
                  <a:cubicBezTo>
                    <a:pt x="0" y="1218"/>
                    <a:pt x="219" y="812"/>
                    <a:pt x="625" y="500"/>
                  </a:cubicBezTo>
                  <a:cubicBezTo>
                    <a:pt x="1031" y="187"/>
                    <a:pt x="1531" y="0"/>
                    <a:pt x="2094" y="0"/>
                  </a:cubicBezTo>
                  <a:lnTo>
                    <a:pt x="2094" y="0"/>
                  </a:lnTo>
                  <a:cubicBezTo>
                    <a:pt x="2781" y="0"/>
                    <a:pt x="3375" y="218"/>
                    <a:pt x="3781" y="625"/>
                  </a:cubicBezTo>
                  <a:cubicBezTo>
                    <a:pt x="4094" y="937"/>
                    <a:pt x="4250" y="1281"/>
                    <a:pt x="4250" y="1656"/>
                  </a:cubicBezTo>
                  <a:cubicBezTo>
                    <a:pt x="4250" y="2092"/>
                    <a:pt x="4031" y="2499"/>
                    <a:pt x="3656" y="2780"/>
                  </a:cubicBezTo>
                  <a:cubicBezTo>
                    <a:pt x="3125" y="3217"/>
                    <a:pt x="2344" y="3374"/>
                    <a:pt x="1469" y="3217"/>
                  </a:cubicBezTo>
                  <a:cubicBezTo>
                    <a:pt x="1125" y="3842"/>
                    <a:pt x="219" y="3717"/>
                    <a:pt x="219" y="3717"/>
                  </a:cubicBezTo>
                  <a:close/>
                  <a:moveTo>
                    <a:pt x="719" y="625"/>
                  </a:moveTo>
                  <a:lnTo>
                    <a:pt x="719" y="625"/>
                  </a:lnTo>
                  <a:cubicBezTo>
                    <a:pt x="375" y="906"/>
                    <a:pt x="156" y="1281"/>
                    <a:pt x="187" y="1656"/>
                  </a:cubicBezTo>
                  <a:cubicBezTo>
                    <a:pt x="219" y="2374"/>
                    <a:pt x="750" y="2686"/>
                    <a:pt x="750" y="2686"/>
                  </a:cubicBezTo>
                  <a:cubicBezTo>
                    <a:pt x="750" y="2686"/>
                    <a:pt x="875" y="3186"/>
                    <a:pt x="625" y="3530"/>
                  </a:cubicBezTo>
                  <a:cubicBezTo>
                    <a:pt x="1125" y="3499"/>
                    <a:pt x="1406" y="3030"/>
                    <a:pt x="1406" y="3030"/>
                  </a:cubicBezTo>
                  <a:cubicBezTo>
                    <a:pt x="1406" y="3030"/>
                    <a:pt x="2719" y="3342"/>
                    <a:pt x="3562" y="2655"/>
                  </a:cubicBezTo>
                  <a:cubicBezTo>
                    <a:pt x="3875" y="2374"/>
                    <a:pt x="4062" y="2030"/>
                    <a:pt x="4062" y="1656"/>
                  </a:cubicBezTo>
                  <a:cubicBezTo>
                    <a:pt x="4062" y="1312"/>
                    <a:pt x="3906" y="1031"/>
                    <a:pt x="3656" y="750"/>
                  </a:cubicBezTo>
                  <a:cubicBezTo>
                    <a:pt x="3281" y="375"/>
                    <a:pt x="2656" y="187"/>
                    <a:pt x="2094" y="187"/>
                  </a:cubicBezTo>
                  <a:cubicBezTo>
                    <a:pt x="1562" y="187"/>
                    <a:pt x="1094" y="343"/>
                    <a:pt x="719" y="62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solidFill>
                  <a:srgbClr val="22777B"/>
                </a:solidFill>
              </a:endParaRPr>
            </a:p>
          </p:txBody>
        </p:sp>
      </p:grpSp>
      <p:sp>
        <p:nvSpPr>
          <p:cNvPr id="20" name="Oval 19">
            <a:extLst>
              <a:ext uri="{FF2B5EF4-FFF2-40B4-BE49-F238E27FC236}">
                <a16:creationId xmlns:a16="http://schemas.microsoft.com/office/drawing/2014/main" id="{1C8A2702-58A5-47A2-80C6-80841F9E2A28}"/>
              </a:ext>
            </a:extLst>
          </p:cNvPr>
          <p:cNvSpPr/>
          <p:nvPr/>
        </p:nvSpPr>
        <p:spPr>
          <a:xfrm>
            <a:off x="10434353" y="36609"/>
            <a:ext cx="148708" cy="148708"/>
          </a:xfrm>
          <a:prstGeom prst="ellipse">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95C5C9"/>
              </a:solidFill>
              <a:effectLst/>
              <a:uLnTx/>
              <a:uFillTx/>
              <a:latin typeface="Corbel" panose="020B0503020204020204" pitchFamily="34" charset="0"/>
              <a:ea typeface="+mn-ea"/>
              <a:cs typeface="+mn-cs"/>
            </a:endParaRPr>
          </a:p>
        </p:txBody>
      </p:sp>
      <p:sp>
        <p:nvSpPr>
          <p:cNvPr id="25" name="TextBox 24">
            <a:extLst>
              <a:ext uri="{FF2B5EF4-FFF2-40B4-BE49-F238E27FC236}">
                <a16:creationId xmlns:a16="http://schemas.microsoft.com/office/drawing/2014/main" id="{AFC474C9-0F07-49A9-9B7D-EB1A3E129649}"/>
              </a:ext>
            </a:extLst>
          </p:cNvPr>
          <p:cNvSpPr txBox="1"/>
          <p:nvPr/>
        </p:nvSpPr>
        <p:spPr>
          <a:xfrm>
            <a:off x="10067055"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1</a:t>
            </a:r>
            <a:endParaRPr lang="nl-NL" noProof="0" dirty="0">
              <a:solidFill>
                <a:srgbClr val="95C5C9"/>
              </a:solidFill>
            </a:endParaRPr>
          </a:p>
        </p:txBody>
      </p:sp>
      <p:sp>
        <p:nvSpPr>
          <p:cNvPr id="26" name="TextBox 25">
            <a:extLst>
              <a:ext uri="{FF2B5EF4-FFF2-40B4-BE49-F238E27FC236}">
                <a16:creationId xmlns:a16="http://schemas.microsoft.com/office/drawing/2014/main" id="{3FEADBD9-A2B6-4B92-9C47-5306468A75F7}"/>
              </a:ext>
            </a:extLst>
          </p:cNvPr>
          <p:cNvSpPr txBox="1"/>
          <p:nvPr/>
        </p:nvSpPr>
        <p:spPr>
          <a:xfrm>
            <a:off x="10256482"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2</a:t>
            </a:r>
          </a:p>
        </p:txBody>
      </p:sp>
      <p:sp>
        <p:nvSpPr>
          <p:cNvPr id="27" name="TextBox 26">
            <a:extLst>
              <a:ext uri="{FF2B5EF4-FFF2-40B4-BE49-F238E27FC236}">
                <a16:creationId xmlns:a16="http://schemas.microsoft.com/office/drawing/2014/main" id="{949A2071-855F-47C9-B196-C19B62052578}"/>
              </a:ext>
            </a:extLst>
          </p:cNvPr>
          <p:cNvSpPr txBox="1"/>
          <p:nvPr/>
        </p:nvSpPr>
        <p:spPr>
          <a:xfrm>
            <a:off x="10445909" y="40328"/>
            <a:ext cx="137154" cy="141270"/>
          </a:xfrm>
          <a:prstGeom prst="rect">
            <a:avLst/>
          </a:prstGeom>
        </p:spPr>
        <p:txBody>
          <a:bodyPr vert="horz" wrap="square" lIns="0" tIns="0" rIns="0" bIns="0" rtlCol="0" anchor="ctr">
            <a:noAutofit/>
          </a:bodyPr>
          <a:lstStyle/>
          <a:p>
            <a:pPr marL="0" indent="0" algn="ctr">
              <a:buNone/>
            </a:pPr>
            <a:r>
              <a:rPr lang="nl-NL" sz="1000" b="1" noProof="0" dirty="0">
                <a:solidFill>
                  <a:srgbClr val="95C5C9"/>
                </a:solidFill>
              </a:rPr>
              <a:t>3</a:t>
            </a:r>
          </a:p>
        </p:txBody>
      </p:sp>
      <p:sp>
        <p:nvSpPr>
          <p:cNvPr id="28" name="TextBox 27">
            <a:extLst>
              <a:ext uri="{FF2B5EF4-FFF2-40B4-BE49-F238E27FC236}">
                <a16:creationId xmlns:a16="http://schemas.microsoft.com/office/drawing/2014/main" id="{F810AB17-3FF9-4990-B7A6-589B38DE6A78}"/>
              </a:ext>
            </a:extLst>
          </p:cNvPr>
          <p:cNvSpPr txBox="1"/>
          <p:nvPr/>
        </p:nvSpPr>
        <p:spPr>
          <a:xfrm>
            <a:off x="10635336"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4</a:t>
            </a:r>
            <a:endParaRPr lang="nl-NL" noProof="0" dirty="0">
              <a:solidFill>
                <a:srgbClr val="95C5C9"/>
              </a:solidFill>
            </a:endParaRPr>
          </a:p>
        </p:txBody>
      </p:sp>
      <p:sp>
        <p:nvSpPr>
          <p:cNvPr id="29" name="TextBox 28">
            <a:extLst>
              <a:ext uri="{FF2B5EF4-FFF2-40B4-BE49-F238E27FC236}">
                <a16:creationId xmlns:a16="http://schemas.microsoft.com/office/drawing/2014/main" id="{C33DE8A1-B193-432D-9E3B-226C61A042CE}"/>
              </a:ext>
            </a:extLst>
          </p:cNvPr>
          <p:cNvSpPr txBox="1"/>
          <p:nvPr/>
        </p:nvSpPr>
        <p:spPr>
          <a:xfrm>
            <a:off x="10824763"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5</a:t>
            </a:r>
            <a:endParaRPr lang="nl-NL" sz="1000" noProof="0" dirty="0">
              <a:solidFill>
                <a:srgbClr val="95C5C9"/>
              </a:solidFill>
            </a:endParaRPr>
          </a:p>
        </p:txBody>
      </p:sp>
      <p:sp>
        <p:nvSpPr>
          <p:cNvPr id="30" name="TextBox 29">
            <a:extLst>
              <a:ext uri="{FF2B5EF4-FFF2-40B4-BE49-F238E27FC236}">
                <a16:creationId xmlns:a16="http://schemas.microsoft.com/office/drawing/2014/main" id="{4D0000A0-A8E3-449F-BFDF-C0802C428562}"/>
              </a:ext>
            </a:extLst>
          </p:cNvPr>
          <p:cNvSpPr txBox="1"/>
          <p:nvPr/>
        </p:nvSpPr>
        <p:spPr>
          <a:xfrm>
            <a:off x="11014190"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6</a:t>
            </a:r>
          </a:p>
        </p:txBody>
      </p:sp>
      <p:sp>
        <p:nvSpPr>
          <p:cNvPr id="31" name="TextBox 30">
            <a:extLst>
              <a:ext uri="{FF2B5EF4-FFF2-40B4-BE49-F238E27FC236}">
                <a16:creationId xmlns:a16="http://schemas.microsoft.com/office/drawing/2014/main" id="{6CDD3E26-801D-4D5E-9014-1D45475331FB}"/>
              </a:ext>
            </a:extLst>
          </p:cNvPr>
          <p:cNvSpPr txBox="1"/>
          <p:nvPr/>
        </p:nvSpPr>
        <p:spPr>
          <a:xfrm>
            <a:off x="11203617"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7</a:t>
            </a:r>
            <a:endParaRPr lang="nl-NL" sz="1000" noProof="0" dirty="0">
              <a:solidFill>
                <a:srgbClr val="95C5C9"/>
              </a:solidFill>
            </a:endParaRPr>
          </a:p>
        </p:txBody>
      </p:sp>
    </p:spTree>
    <p:extLst>
      <p:ext uri="{BB962C8B-B14F-4D97-AF65-F5344CB8AC3E}">
        <p14:creationId xmlns:p14="http://schemas.microsoft.com/office/powerpoint/2010/main" val="24733166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ABE98B0-3C8A-43C8-8200-5975A1E67A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42"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CABE98B0-3C8A-43C8-8200-5975A1E67A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B7005C69-C8D5-4CD2-A222-DB83596ED306}"/>
              </a:ext>
            </a:extLst>
          </p:cNvPr>
          <p:cNvSpPr>
            <a:spLocks noGrp="1"/>
          </p:cNvSpPr>
          <p:nvPr>
            <p:ph type="ftr" sz="quarter" idx="3"/>
          </p:nvPr>
        </p:nvSpPr>
        <p:spPr/>
        <p:txBody>
          <a:bodyPr/>
          <a:lstStyle/>
          <a:p>
            <a:r>
              <a:rPr lang="nl-NL" noProof="0"/>
              <a:t>Bron: </a:t>
            </a:r>
          </a:p>
        </p:txBody>
      </p:sp>
      <p:sp>
        <p:nvSpPr>
          <p:cNvPr id="5" name="Slide Number Placeholder 4">
            <a:extLst>
              <a:ext uri="{FF2B5EF4-FFF2-40B4-BE49-F238E27FC236}">
                <a16:creationId xmlns:a16="http://schemas.microsoft.com/office/drawing/2014/main" id="{884FD416-CB43-4A83-8EDE-DF8450D7AC65}"/>
              </a:ext>
            </a:extLst>
          </p:cNvPr>
          <p:cNvSpPr>
            <a:spLocks noGrp="1"/>
          </p:cNvSpPr>
          <p:nvPr>
            <p:ph type="sldNum" sz="quarter" idx="12"/>
          </p:nvPr>
        </p:nvSpPr>
        <p:spPr/>
        <p:txBody>
          <a:bodyPr/>
          <a:lstStyle/>
          <a:p>
            <a:fld id="{992CD0B2-8AB2-4C6C-8876-E15753662C9B}" type="slidenum">
              <a:rPr lang="nl-NL" noProof="0" smtClean="0"/>
              <a:pPr/>
              <a:t>16</a:t>
            </a:fld>
            <a:endParaRPr lang="nl-NL" noProof="0"/>
          </a:p>
        </p:txBody>
      </p:sp>
      <p:sp>
        <p:nvSpPr>
          <p:cNvPr id="30" name="Text Placeholder 5">
            <a:extLst>
              <a:ext uri="{FF2B5EF4-FFF2-40B4-BE49-F238E27FC236}">
                <a16:creationId xmlns:a16="http://schemas.microsoft.com/office/drawing/2014/main" id="{7347DDFB-778D-40B7-AB84-CA2BD033379C}"/>
              </a:ext>
            </a:extLst>
          </p:cNvPr>
          <p:cNvSpPr txBox="1">
            <a:spLocks/>
          </p:cNvSpPr>
          <p:nvPr/>
        </p:nvSpPr>
        <p:spPr>
          <a:xfrm>
            <a:off x="6031345" y="3673659"/>
            <a:ext cx="5511555" cy="2635066"/>
          </a:xfrm>
          <a:prstGeom prst="rect">
            <a:avLst/>
          </a:prstGeom>
          <a:solidFill>
            <a:schemeClr val="bg1"/>
          </a:solidFill>
          <a:ln>
            <a:solidFill>
              <a:schemeClr val="bg1">
                <a:lumMod val="85000"/>
              </a:schemeClr>
            </a:solidFill>
          </a:ln>
        </p:spPr>
        <p:txBody>
          <a:bodyPr vert="horz" lIns="54000" tIns="72000" rIns="54000" bIns="72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nSpc>
                <a:spcPct val="100000"/>
              </a:lnSpc>
            </a:pPr>
            <a:r>
              <a:rPr lang="nl-NL" sz="1200" dirty="0"/>
              <a:t>Hoe zou een onvoldoende antwoord eruit zien?</a:t>
            </a:r>
            <a:br>
              <a:rPr lang="nl-NL" sz="1200" dirty="0"/>
            </a:br>
            <a:r>
              <a:rPr lang="nl-NL" sz="1200" b="0" dirty="0"/>
              <a:t>Zoals ik al eerder zei is het natuurlijk duur om in Amsterdam te wonen. Hoe hoger de huur, hoe minder aantrekkelijk om in een stad te wonen, dat geldt natuurlijk ook voor leraren. En ik kan me voorstellen dat hun salaris ook niet zó hoog is, dus dat dit financiële aspect zeker wel meespeelt. En ja, dan is het dus aantrekkelijker om ergens buiten de randstad te gaan wonen, waar je een veel groter huis kan krijgen voor minder geld. Ook natuurlijk omdat leraren van kinderen houden is de kans groot dat ze zelf op gegeven moment kinderen hebben, en dan moet je wel ruimer gaan wonen dan de meeste huizen in Amsterdam. Leraren zullen dan ook daar gaan werken.</a:t>
            </a:r>
          </a:p>
          <a:p>
            <a:pPr>
              <a:lnSpc>
                <a:spcPct val="100000"/>
              </a:lnSpc>
            </a:pPr>
            <a:endParaRPr lang="nl-NL" sz="1200" b="0" dirty="0"/>
          </a:p>
          <a:p>
            <a:pPr>
              <a:lnSpc>
                <a:spcPct val="100000"/>
              </a:lnSpc>
            </a:pPr>
            <a:r>
              <a:rPr lang="nl-NL" sz="1200" dirty="0"/>
              <a:t>Wat kan hier beter?</a:t>
            </a:r>
          </a:p>
          <a:p>
            <a:pPr marL="171450" indent="-171450">
              <a:lnSpc>
                <a:spcPct val="100000"/>
              </a:lnSpc>
              <a:buFont typeface="Wingdings" panose="05000000000000000000" pitchFamily="2" charset="2"/>
              <a:buChar char="§"/>
            </a:pPr>
            <a:r>
              <a:rPr lang="nl-NL" sz="1200" b="0" dirty="0"/>
              <a:t>Antwoord is te langdradig</a:t>
            </a:r>
          </a:p>
          <a:p>
            <a:pPr marL="171450" indent="-171450">
              <a:lnSpc>
                <a:spcPct val="100000"/>
              </a:lnSpc>
              <a:buFont typeface="Wingdings" panose="05000000000000000000" pitchFamily="2" charset="2"/>
              <a:buChar char="§"/>
            </a:pPr>
            <a:r>
              <a:rPr lang="nl-NL" sz="1200" b="0" dirty="0"/>
              <a:t>Er is weinig tot geen structuur in het verhaal, waardoor het moeilijk te volgen is en conclusies aan te verbinden zijn.</a:t>
            </a:r>
          </a:p>
          <a:p>
            <a:pPr marL="171450" indent="-171450">
              <a:buFont typeface="Wingdings" panose="05000000000000000000" pitchFamily="2" charset="2"/>
              <a:buChar char="§"/>
            </a:pPr>
            <a:endParaRPr lang="nl-NL" sz="1200" b="0" dirty="0"/>
          </a:p>
          <a:p>
            <a:endParaRPr lang="nl-NL" sz="1200" b="0" dirty="0"/>
          </a:p>
        </p:txBody>
      </p:sp>
      <p:sp>
        <p:nvSpPr>
          <p:cNvPr id="8" name="Text Placeholder 5">
            <a:extLst>
              <a:ext uri="{FF2B5EF4-FFF2-40B4-BE49-F238E27FC236}">
                <a16:creationId xmlns:a16="http://schemas.microsoft.com/office/drawing/2014/main" id="{590D4113-C0B4-44C6-867B-45E0549FB90F}"/>
              </a:ext>
            </a:extLst>
          </p:cNvPr>
          <p:cNvSpPr txBox="1">
            <a:spLocks/>
          </p:cNvSpPr>
          <p:nvPr/>
        </p:nvSpPr>
        <p:spPr>
          <a:xfrm>
            <a:off x="2952749" y="545413"/>
            <a:ext cx="8577451" cy="3053212"/>
          </a:xfrm>
          <a:prstGeom prst="rect">
            <a:avLst/>
          </a:prstGeom>
          <a:solidFill>
            <a:schemeClr val="bg1">
              <a:lumMod val="95000"/>
            </a:schemeClr>
          </a:solidFill>
          <a:ln>
            <a:solidFill>
              <a:srgbClr val="22777B"/>
            </a:solidFill>
          </a:ln>
        </p:spPr>
        <p:txBody>
          <a:bodyPr vert="horz" lIns="72000" tIns="72000" rIns="72000" bIns="72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nSpc>
                <a:spcPct val="100000"/>
              </a:lnSpc>
            </a:pPr>
            <a:r>
              <a:rPr lang="nl-NL" sz="1200" dirty="0"/>
              <a:t>Excellent antwoord</a:t>
            </a:r>
            <a:br>
              <a:rPr lang="nl-NL" sz="1200" dirty="0"/>
            </a:br>
            <a:r>
              <a:rPr lang="nl-NL" sz="1200" b="0" dirty="0"/>
              <a:t>We moeten dus bepalen waarom Amsterdam afwijkend is. Hiervoor wil ik zowel kijken naar factoren die het aanbod als factoren die de vraag </a:t>
            </a:r>
            <a:r>
              <a:rPr lang="nl-NL" sz="1200" b="0" dirty="0" err="1"/>
              <a:t>beinvloeden</a:t>
            </a:r>
            <a:r>
              <a:rPr lang="nl-NL" sz="1200" b="0" dirty="0"/>
              <a:t>.</a:t>
            </a:r>
          </a:p>
          <a:p>
            <a:pPr marL="180000" marR="0" lvl="0" indent="-180000" algn="l" defTabSz="685800" rtl="0" eaLnBrk="1" fontAlgn="auto" latinLnBrk="0" hangingPunct="1">
              <a:lnSpc>
                <a:spcPct val="100000"/>
              </a:lnSpc>
              <a:spcBef>
                <a:spcPts val="375"/>
              </a:spcBef>
              <a:spcAft>
                <a:spcPts val="0"/>
              </a:spcAft>
              <a:buClr>
                <a:srgbClr val="22777B"/>
              </a:buClr>
              <a:buSzTx/>
              <a:buFont typeface="Wingdings" panose="05000000000000000000" pitchFamily="2" charset="2"/>
              <a:buChar char="§"/>
              <a:tabLst/>
              <a:defRPr/>
            </a:pPr>
            <a:r>
              <a:rPr lang="nl-NL" sz="1200" b="0" dirty="0"/>
              <a:t>Vraag: ik denk dat het niet aan de vraag ligt, wonen in Amsterdam is erg duur, dus ik denk dat jonge gezinnen juist wegtrekken uit Amsterdam. Daarnaast zie ik ook geen redenen waarom er in Amsterdam minder leerlingen per leraar zouden zijn in scholen. Eerder meer omdat er waarschijnlijk minder zeer kleine scholen zijn. </a:t>
            </a:r>
          </a:p>
          <a:p>
            <a:pPr marL="180000" indent="-180000">
              <a:lnSpc>
                <a:spcPct val="100000"/>
              </a:lnSpc>
              <a:spcBef>
                <a:spcPts val="375"/>
              </a:spcBef>
              <a:buClr>
                <a:srgbClr val="22777B"/>
              </a:buClr>
              <a:buFont typeface="Wingdings" panose="05000000000000000000" pitchFamily="2" charset="2"/>
              <a:buChar char="§"/>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bod: ik denk dat er elk jaar wel voldoende leerkrachten bij komen, er zijn veel onderwijsinstellingen in Amsterdam en daarnaast is Amsterdam een geliefde stad om in te wonen voor starters. Ik denk dat de uitstroom na een aantal jaar wel hoger is in Amsterdam, op een gegeven moment wordt Amsterdam te duur om te blijven wonen en omdat leraren liever dichtbij hun werk wonen zullen deze mensen een baan buiten Amsterdam zoeken. Ik denk dat dat de grootste reden is van het extra grote tekort in Amsterdam.  </a:t>
            </a:r>
          </a:p>
          <a:p>
            <a:pPr marR="0" lvl="0" algn="l" defTabSz="685800" rtl="0" eaLnBrk="1" fontAlgn="auto" latinLnBrk="0" hangingPunct="1">
              <a:lnSpc>
                <a:spcPct val="100000"/>
              </a:lnSpc>
              <a:spcBef>
                <a:spcPts val="375"/>
              </a:spcBef>
              <a:spcAft>
                <a:spcPts val="0"/>
              </a:spcAft>
              <a:buClr>
                <a:srgbClr val="22777B"/>
              </a:buClr>
              <a:buSzTx/>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k vraag mij daarnaast ook af hoe het tekort verdeeld is over Amsterdam. Is er overal een vergelijkbaar tekort of is het tekort veel groter op bepaalde scholen of gebieden?</a:t>
            </a:r>
          </a:p>
          <a:p>
            <a:endPar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endParaRPr lang="nl-NL" sz="1200" b="0" dirty="0"/>
          </a:p>
          <a:p>
            <a:endParaRPr lang="nl-NL" sz="1200" b="0" dirty="0"/>
          </a:p>
        </p:txBody>
      </p:sp>
      <p:sp>
        <p:nvSpPr>
          <p:cNvPr id="15" name="Text Placeholder 5">
            <a:extLst>
              <a:ext uri="{FF2B5EF4-FFF2-40B4-BE49-F238E27FC236}">
                <a16:creationId xmlns:a16="http://schemas.microsoft.com/office/drawing/2014/main" id="{D810EC08-28BB-4468-B85E-E1A870DBD8DF}"/>
              </a:ext>
            </a:extLst>
          </p:cNvPr>
          <p:cNvSpPr txBox="1">
            <a:spLocks/>
          </p:cNvSpPr>
          <p:nvPr/>
        </p:nvSpPr>
        <p:spPr>
          <a:xfrm>
            <a:off x="2952750" y="3673659"/>
            <a:ext cx="3078595" cy="2635066"/>
          </a:xfrm>
          <a:prstGeom prst="rect">
            <a:avLst/>
          </a:prstGeom>
          <a:solidFill>
            <a:schemeClr val="bg1"/>
          </a:solidFill>
          <a:ln>
            <a:solidFill>
              <a:schemeClr val="bg1">
                <a:lumMod val="85000"/>
              </a:schemeClr>
            </a:solidFill>
          </a:ln>
        </p:spPr>
        <p:txBody>
          <a:bodyPr vert="horz" lIns="54000" tIns="72000" rIns="54000" bIns="72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nSpc>
                <a:spcPct val="100000"/>
              </a:lnSpc>
            </a:pPr>
            <a:r>
              <a:rPr lang="nl-NL" sz="1200" dirty="0"/>
              <a:t>Wat maakt dit antwoord goed?</a:t>
            </a:r>
          </a:p>
          <a:p>
            <a:pPr marL="171450" indent="-171450">
              <a:lnSpc>
                <a:spcPct val="100000"/>
              </a:lnSpc>
              <a:buClr>
                <a:schemeClr val="tx2"/>
              </a:buClr>
              <a:buFont typeface="Wingdings" panose="05000000000000000000" pitchFamily="2" charset="2"/>
              <a:buChar char="ü"/>
            </a:pPr>
            <a:r>
              <a:rPr lang="nl-NL" sz="1200" b="0" dirty="0"/>
              <a:t>Structuur van het vorige antwoord wordt aangehouden, hierdoor is het eenvoudig om te volgen.</a:t>
            </a:r>
          </a:p>
          <a:p>
            <a:pPr marL="171450" indent="-171450">
              <a:lnSpc>
                <a:spcPct val="100000"/>
              </a:lnSpc>
              <a:buClr>
                <a:schemeClr val="tx2"/>
              </a:buClr>
              <a:buFont typeface="Wingdings" panose="05000000000000000000" pitchFamily="2" charset="2"/>
              <a:buChar char="ü"/>
            </a:pPr>
            <a:r>
              <a:rPr lang="nl-NL" sz="1200" b="0" dirty="0"/>
              <a:t>Er worden zinnige inschattingen gemaakt van de situatie.</a:t>
            </a:r>
          </a:p>
          <a:p>
            <a:pPr marL="171450" indent="-171450">
              <a:lnSpc>
                <a:spcPct val="100000"/>
              </a:lnSpc>
              <a:buClr>
                <a:schemeClr val="tx2"/>
              </a:buClr>
              <a:buFont typeface="Wingdings" panose="05000000000000000000" pitchFamily="2" charset="2"/>
              <a:buChar char="ü"/>
            </a:pPr>
            <a:r>
              <a:rPr lang="nl-NL" sz="1200" b="0" dirty="0"/>
              <a:t>Er wordt een concreet voorstel gedaan om de situatie verder te onderzoeken.</a:t>
            </a:r>
          </a:p>
          <a:p>
            <a:pPr marL="171450" indent="-171450">
              <a:buClr>
                <a:schemeClr val="tx2"/>
              </a:buClr>
              <a:buFont typeface="Wingdings" panose="05000000000000000000" pitchFamily="2" charset="2"/>
              <a:buChar char="§"/>
            </a:pPr>
            <a:endParaRPr lang="nl-NL" sz="1200" b="0" dirty="0"/>
          </a:p>
          <a:p>
            <a:pPr>
              <a:buClr>
                <a:schemeClr val="tx2"/>
              </a:buClr>
            </a:pPr>
            <a:endParaRPr lang="nl-NL" sz="1200" b="0" dirty="0"/>
          </a:p>
          <a:p>
            <a:pPr>
              <a:buClr>
                <a:schemeClr val="tx2"/>
              </a:buClr>
            </a:pPr>
            <a:endParaRPr lang="nl-NL" sz="1200" b="0" dirty="0"/>
          </a:p>
        </p:txBody>
      </p:sp>
      <p:pic>
        <p:nvPicPr>
          <p:cNvPr id="61442" name="Picture 2">
            <a:extLst>
              <a:ext uri="{FF2B5EF4-FFF2-40B4-BE49-F238E27FC236}">
                <a16:creationId xmlns:a16="http://schemas.microsoft.com/office/drawing/2014/main" id="{F31421FC-687C-4775-BBCA-9AC90E0C78E6}"/>
              </a:ext>
            </a:extLst>
          </p:cNvPr>
          <p:cNvPicPr>
            <a:picLocks noChangeAspect="1" noChangeArrowheads="1"/>
          </p:cNvPicPr>
          <p:nvPr/>
        </p:nvPicPr>
        <p:blipFill>
          <a:blip r:embed="rId6" cstate="hqprint">
            <a:extLst>
              <a:ext uri="{28A0092B-C50C-407E-A947-70E740481C1C}">
                <a14:useLocalDpi xmlns:a14="http://schemas.microsoft.com/office/drawing/2010/main"/>
              </a:ext>
            </a:extLst>
          </a:blip>
          <a:srcRect l="38477" r="38477"/>
          <a:stretch/>
        </p:blipFill>
        <p:spPr bwMode="auto">
          <a:xfrm>
            <a:off x="0" y="0"/>
            <a:ext cx="28098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D85439E5-6E0C-4BFB-9E2A-FA280E638BDE}"/>
              </a:ext>
            </a:extLst>
          </p:cNvPr>
          <p:cNvSpPr/>
          <p:nvPr/>
        </p:nvSpPr>
        <p:spPr>
          <a:xfrm>
            <a:off x="0" y="-8800"/>
            <a:ext cx="2809875" cy="6866800"/>
          </a:xfrm>
          <a:prstGeom prst="rect">
            <a:avLst/>
          </a:prstGeom>
          <a:solidFill>
            <a:schemeClr val="bg1">
              <a:lumMod val="95000"/>
              <a:alpha val="84000"/>
            </a:schemeClr>
          </a:solidFill>
          <a:ln>
            <a:noFill/>
          </a:ln>
        </p:spPr>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0" indent="0">
              <a:lnSpc>
                <a:spcPct val="100000"/>
              </a:lnSpc>
              <a:buNone/>
            </a:pPr>
            <a:r>
              <a:rPr lang="nl-NL" sz="2800" b="1" dirty="0">
                <a:solidFill>
                  <a:srgbClr val="22777B"/>
                </a:solidFill>
              </a:rPr>
              <a:t>Vraag 3</a:t>
            </a:r>
          </a:p>
          <a:p>
            <a:pPr marL="0" indent="0">
              <a:lnSpc>
                <a:spcPct val="100000"/>
              </a:lnSpc>
              <a:buNone/>
            </a:pPr>
            <a:br>
              <a:rPr lang="nl-NL" sz="1400" dirty="0"/>
            </a:br>
            <a:br>
              <a:rPr lang="nl-NL" sz="1200" dirty="0"/>
            </a:br>
            <a:r>
              <a:rPr lang="nl-NL" sz="1200" dirty="0"/>
              <a:t>Kijk, ik denk dat we zo een goed beeld kunnen krijgen van het tekort. Zoals ik eerder aangaf is het tekort een stuk groter in Amsterdam dan andere plekken in Nederland, wat zouden de redenen daarvoor kunnen zijn?</a:t>
            </a:r>
          </a:p>
          <a:p>
            <a:pPr algn="ctr">
              <a:lnSpc>
                <a:spcPct val="100000"/>
              </a:lnSpc>
              <a:buClr>
                <a:schemeClr val="tx2"/>
              </a:buClr>
            </a:pPr>
            <a:endParaRPr kumimoji="0" lang="nl-NL" sz="1400" i="0" u="none" strike="noStrike" kern="1200" cap="none" spc="0" normalizeH="0" baseline="0" noProof="0" dirty="0">
              <a:ln>
                <a:noFill/>
              </a:ln>
              <a:effectLst/>
              <a:uLnTx/>
              <a:uFillTx/>
              <a:latin typeface="Corbel" panose="020B0503020204020204" pitchFamily="34" charset="0"/>
              <a:ea typeface="+mn-ea"/>
              <a:cs typeface="+mn-cs"/>
            </a:endParaRPr>
          </a:p>
        </p:txBody>
      </p:sp>
      <p:grpSp>
        <p:nvGrpSpPr>
          <p:cNvPr id="21" name="Group 20">
            <a:extLst>
              <a:ext uri="{FF2B5EF4-FFF2-40B4-BE49-F238E27FC236}">
                <a16:creationId xmlns:a16="http://schemas.microsoft.com/office/drawing/2014/main" id="{C5578B65-C922-42B5-B58E-017E05320628}"/>
              </a:ext>
            </a:extLst>
          </p:cNvPr>
          <p:cNvGrpSpPr/>
          <p:nvPr/>
        </p:nvGrpSpPr>
        <p:grpSpPr>
          <a:xfrm>
            <a:off x="1444733" y="241300"/>
            <a:ext cx="504420" cy="348414"/>
            <a:chOff x="2836863" y="3201988"/>
            <a:chExt cx="2001837" cy="1382712"/>
          </a:xfrm>
          <a:solidFill>
            <a:srgbClr val="22777B"/>
          </a:solidFill>
        </p:grpSpPr>
        <p:sp>
          <p:nvSpPr>
            <p:cNvPr id="22" name="Freeform 1">
              <a:extLst>
                <a:ext uri="{FF2B5EF4-FFF2-40B4-BE49-F238E27FC236}">
                  <a16:creationId xmlns:a16="http://schemas.microsoft.com/office/drawing/2014/main" id="{3B7896AF-670D-49F2-865F-D697DA861715}"/>
                </a:ext>
              </a:extLst>
            </p:cNvPr>
            <p:cNvSpPr>
              <a:spLocks noChangeArrowheads="1"/>
            </p:cNvSpPr>
            <p:nvPr/>
          </p:nvSpPr>
          <p:spPr bwMode="auto">
            <a:xfrm>
              <a:off x="2870200" y="3246438"/>
              <a:ext cx="1450975" cy="1247775"/>
            </a:xfrm>
            <a:custGeom>
              <a:avLst/>
              <a:gdLst>
                <a:gd name="T0" fmla="*/ 3625 w 4032"/>
                <a:gd name="T1" fmla="*/ 593 h 3468"/>
                <a:gd name="T2" fmla="*/ 3625 w 4032"/>
                <a:gd name="T3" fmla="*/ 593 h 3468"/>
                <a:gd name="T4" fmla="*/ 2000 w 4032"/>
                <a:gd name="T5" fmla="*/ 0 h 3468"/>
                <a:gd name="T6" fmla="*/ 593 w 4032"/>
                <a:gd name="T7" fmla="*/ 468 h 3468"/>
                <a:gd name="T8" fmla="*/ 593 w 4032"/>
                <a:gd name="T9" fmla="*/ 468 h 3468"/>
                <a:gd name="T10" fmla="*/ 31 w 4032"/>
                <a:gd name="T11" fmla="*/ 1531 h 3468"/>
                <a:gd name="T12" fmla="*/ 593 w 4032"/>
                <a:gd name="T13" fmla="*/ 2592 h 3468"/>
                <a:gd name="T14" fmla="*/ 500 w 4032"/>
                <a:gd name="T15" fmla="*/ 3374 h 3468"/>
                <a:gd name="T16" fmla="*/ 406 w 4032"/>
                <a:gd name="T17" fmla="*/ 3467 h 3468"/>
                <a:gd name="T18" fmla="*/ 531 w 4032"/>
                <a:gd name="T19" fmla="*/ 3467 h 3468"/>
                <a:gd name="T20" fmla="*/ 1343 w 4032"/>
                <a:gd name="T21" fmla="*/ 2967 h 3468"/>
                <a:gd name="T22" fmla="*/ 2093 w 4032"/>
                <a:gd name="T23" fmla="*/ 3030 h 3468"/>
                <a:gd name="T24" fmla="*/ 3531 w 4032"/>
                <a:gd name="T25" fmla="*/ 2592 h 3468"/>
                <a:gd name="T26" fmla="*/ 4031 w 4032"/>
                <a:gd name="T27" fmla="*/ 1531 h 3468"/>
                <a:gd name="T28" fmla="*/ 3625 w 4032"/>
                <a:gd name="T29" fmla="*/ 593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2" h="3468">
                  <a:moveTo>
                    <a:pt x="3625" y="593"/>
                  </a:moveTo>
                  <a:lnTo>
                    <a:pt x="3625" y="593"/>
                  </a:lnTo>
                  <a:cubicBezTo>
                    <a:pt x="3250" y="218"/>
                    <a:pt x="2625" y="0"/>
                    <a:pt x="2000" y="0"/>
                  </a:cubicBezTo>
                  <a:cubicBezTo>
                    <a:pt x="1468" y="0"/>
                    <a:pt x="1000" y="156"/>
                    <a:pt x="593" y="468"/>
                  </a:cubicBezTo>
                  <a:lnTo>
                    <a:pt x="593" y="468"/>
                  </a:lnTo>
                  <a:cubicBezTo>
                    <a:pt x="218" y="781"/>
                    <a:pt x="0" y="1156"/>
                    <a:pt x="31" y="1531"/>
                  </a:cubicBezTo>
                  <a:cubicBezTo>
                    <a:pt x="62" y="2217"/>
                    <a:pt x="500" y="2530"/>
                    <a:pt x="593" y="2592"/>
                  </a:cubicBezTo>
                  <a:cubicBezTo>
                    <a:pt x="625" y="2717"/>
                    <a:pt x="687" y="3092"/>
                    <a:pt x="500" y="3374"/>
                  </a:cubicBezTo>
                  <a:cubicBezTo>
                    <a:pt x="406" y="3467"/>
                    <a:pt x="406" y="3467"/>
                    <a:pt x="406" y="3467"/>
                  </a:cubicBezTo>
                  <a:cubicBezTo>
                    <a:pt x="531" y="3467"/>
                    <a:pt x="531" y="3467"/>
                    <a:pt x="531" y="3467"/>
                  </a:cubicBezTo>
                  <a:cubicBezTo>
                    <a:pt x="1000" y="3436"/>
                    <a:pt x="1281" y="3092"/>
                    <a:pt x="1343" y="2967"/>
                  </a:cubicBezTo>
                  <a:cubicBezTo>
                    <a:pt x="1437" y="2999"/>
                    <a:pt x="1718" y="3061"/>
                    <a:pt x="2093" y="3030"/>
                  </a:cubicBezTo>
                  <a:cubicBezTo>
                    <a:pt x="2656" y="3030"/>
                    <a:pt x="3156" y="2874"/>
                    <a:pt x="3531" y="2592"/>
                  </a:cubicBezTo>
                  <a:cubicBezTo>
                    <a:pt x="3843" y="2280"/>
                    <a:pt x="4031" y="1905"/>
                    <a:pt x="4031" y="1531"/>
                  </a:cubicBezTo>
                  <a:cubicBezTo>
                    <a:pt x="4031" y="1218"/>
                    <a:pt x="3906" y="906"/>
                    <a:pt x="3625" y="5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3" name="Freeform 2">
              <a:extLst>
                <a:ext uri="{FF2B5EF4-FFF2-40B4-BE49-F238E27FC236}">
                  <a16:creationId xmlns:a16="http://schemas.microsoft.com/office/drawing/2014/main" id="{CAD3F577-FAD4-4169-913E-31809A4FFBDC}"/>
                </a:ext>
              </a:extLst>
            </p:cNvPr>
            <p:cNvSpPr>
              <a:spLocks noChangeArrowheads="1"/>
            </p:cNvSpPr>
            <p:nvPr/>
          </p:nvSpPr>
          <p:spPr bwMode="auto">
            <a:xfrm>
              <a:off x="3983038" y="3201988"/>
              <a:ext cx="855662" cy="1338262"/>
            </a:xfrm>
            <a:custGeom>
              <a:avLst/>
              <a:gdLst>
                <a:gd name="T0" fmla="*/ 1781 w 2376"/>
                <a:gd name="T1" fmla="*/ 2811 h 3718"/>
                <a:gd name="T2" fmla="*/ 1781 w 2376"/>
                <a:gd name="T3" fmla="*/ 2811 h 3718"/>
                <a:gd name="T4" fmla="*/ 2375 w 2376"/>
                <a:gd name="T5" fmla="*/ 1687 h 3718"/>
                <a:gd name="T6" fmla="*/ 1750 w 2376"/>
                <a:gd name="T7" fmla="*/ 500 h 3718"/>
                <a:gd name="T8" fmla="*/ 282 w 2376"/>
                <a:gd name="T9" fmla="*/ 0 h 3718"/>
                <a:gd name="T10" fmla="*/ 0 w 2376"/>
                <a:gd name="T11" fmla="*/ 31 h 3718"/>
                <a:gd name="T12" fmla="*/ 782 w 2376"/>
                <a:gd name="T13" fmla="*/ 531 h 3718"/>
                <a:gd name="T14" fmla="*/ 1250 w 2376"/>
                <a:gd name="T15" fmla="*/ 1656 h 3718"/>
                <a:gd name="T16" fmla="*/ 625 w 2376"/>
                <a:gd name="T17" fmla="*/ 2905 h 3718"/>
                <a:gd name="T18" fmla="*/ 0 w 2376"/>
                <a:gd name="T19" fmla="*/ 3280 h 3718"/>
                <a:gd name="T20" fmla="*/ 875 w 2376"/>
                <a:gd name="T21" fmla="*/ 3249 h 3718"/>
                <a:gd name="T22" fmla="*/ 1938 w 2376"/>
                <a:gd name="T23" fmla="*/ 3717 h 3718"/>
                <a:gd name="T24" fmla="*/ 2219 w 2376"/>
                <a:gd name="T25" fmla="*/ 3717 h 3718"/>
                <a:gd name="T26" fmla="*/ 2032 w 2376"/>
                <a:gd name="T27" fmla="*/ 3530 h 3718"/>
                <a:gd name="T28" fmla="*/ 1781 w 2376"/>
                <a:gd name="T29" fmla="*/ 2811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6" h="3718">
                  <a:moveTo>
                    <a:pt x="1781" y="2811"/>
                  </a:moveTo>
                  <a:lnTo>
                    <a:pt x="1781" y="2811"/>
                  </a:lnTo>
                  <a:cubicBezTo>
                    <a:pt x="2157" y="2499"/>
                    <a:pt x="2375" y="2092"/>
                    <a:pt x="2375" y="1687"/>
                  </a:cubicBezTo>
                  <a:cubicBezTo>
                    <a:pt x="2375" y="1218"/>
                    <a:pt x="2188" y="812"/>
                    <a:pt x="1750" y="500"/>
                  </a:cubicBezTo>
                  <a:cubicBezTo>
                    <a:pt x="1344" y="187"/>
                    <a:pt x="844" y="0"/>
                    <a:pt x="282" y="0"/>
                  </a:cubicBezTo>
                  <a:cubicBezTo>
                    <a:pt x="188" y="0"/>
                    <a:pt x="94" y="0"/>
                    <a:pt x="0" y="31"/>
                  </a:cubicBezTo>
                  <a:cubicBezTo>
                    <a:pt x="282" y="125"/>
                    <a:pt x="563" y="312"/>
                    <a:pt x="782" y="531"/>
                  </a:cubicBezTo>
                  <a:cubicBezTo>
                    <a:pt x="1094" y="843"/>
                    <a:pt x="1250" y="1218"/>
                    <a:pt x="1250" y="1656"/>
                  </a:cubicBezTo>
                  <a:cubicBezTo>
                    <a:pt x="1250" y="2124"/>
                    <a:pt x="1032" y="2592"/>
                    <a:pt x="625" y="2905"/>
                  </a:cubicBezTo>
                  <a:cubicBezTo>
                    <a:pt x="438" y="3061"/>
                    <a:pt x="219" y="3186"/>
                    <a:pt x="0" y="3280"/>
                  </a:cubicBezTo>
                  <a:cubicBezTo>
                    <a:pt x="282" y="3311"/>
                    <a:pt x="563" y="3280"/>
                    <a:pt x="875" y="3249"/>
                  </a:cubicBezTo>
                  <a:cubicBezTo>
                    <a:pt x="1125" y="3561"/>
                    <a:pt x="1469" y="3717"/>
                    <a:pt x="1938" y="3717"/>
                  </a:cubicBezTo>
                  <a:cubicBezTo>
                    <a:pt x="2219" y="3717"/>
                    <a:pt x="2219" y="3717"/>
                    <a:pt x="2219" y="3717"/>
                  </a:cubicBezTo>
                  <a:cubicBezTo>
                    <a:pt x="2032" y="3530"/>
                    <a:pt x="2032" y="3530"/>
                    <a:pt x="2032" y="3530"/>
                  </a:cubicBezTo>
                  <a:cubicBezTo>
                    <a:pt x="1813" y="3311"/>
                    <a:pt x="1750" y="3092"/>
                    <a:pt x="1781" y="28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4" name="Freeform 3">
              <a:extLst>
                <a:ext uri="{FF2B5EF4-FFF2-40B4-BE49-F238E27FC236}">
                  <a16:creationId xmlns:a16="http://schemas.microsoft.com/office/drawing/2014/main" id="{8EDCAE06-9FA2-4B47-B181-6930B4A19E56}"/>
                </a:ext>
              </a:extLst>
            </p:cNvPr>
            <p:cNvSpPr>
              <a:spLocks noChangeArrowheads="1"/>
            </p:cNvSpPr>
            <p:nvPr/>
          </p:nvSpPr>
          <p:spPr bwMode="auto">
            <a:xfrm>
              <a:off x="2836863" y="3201988"/>
              <a:ext cx="1530350" cy="1382712"/>
            </a:xfrm>
            <a:custGeom>
              <a:avLst/>
              <a:gdLst>
                <a:gd name="T0" fmla="*/ 219 w 4251"/>
                <a:gd name="T1" fmla="*/ 3717 h 3843"/>
                <a:gd name="T2" fmla="*/ 219 w 4251"/>
                <a:gd name="T3" fmla="*/ 3717 h 3843"/>
                <a:gd name="T4" fmla="*/ 594 w 4251"/>
                <a:gd name="T5" fmla="*/ 2811 h 3843"/>
                <a:gd name="T6" fmla="*/ 0 w 4251"/>
                <a:gd name="T7" fmla="*/ 1656 h 3843"/>
                <a:gd name="T8" fmla="*/ 625 w 4251"/>
                <a:gd name="T9" fmla="*/ 500 h 3843"/>
                <a:gd name="T10" fmla="*/ 2094 w 4251"/>
                <a:gd name="T11" fmla="*/ 0 h 3843"/>
                <a:gd name="T12" fmla="*/ 2094 w 4251"/>
                <a:gd name="T13" fmla="*/ 0 h 3843"/>
                <a:gd name="T14" fmla="*/ 3781 w 4251"/>
                <a:gd name="T15" fmla="*/ 625 h 3843"/>
                <a:gd name="T16" fmla="*/ 4250 w 4251"/>
                <a:gd name="T17" fmla="*/ 1656 h 3843"/>
                <a:gd name="T18" fmla="*/ 3656 w 4251"/>
                <a:gd name="T19" fmla="*/ 2780 h 3843"/>
                <a:gd name="T20" fmla="*/ 1469 w 4251"/>
                <a:gd name="T21" fmla="*/ 3217 h 3843"/>
                <a:gd name="T22" fmla="*/ 219 w 4251"/>
                <a:gd name="T23" fmla="*/ 3717 h 3843"/>
                <a:gd name="T24" fmla="*/ 719 w 4251"/>
                <a:gd name="T25" fmla="*/ 625 h 3843"/>
                <a:gd name="T26" fmla="*/ 719 w 4251"/>
                <a:gd name="T27" fmla="*/ 625 h 3843"/>
                <a:gd name="T28" fmla="*/ 187 w 4251"/>
                <a:gd name="T29" fmla="*/ 1656 h 3843"/>
                <a:gd name="T30" fmla="*/ 750 w 4251"/>
                <a:gd name="T31" fmla="*/ 2686 h 3843"/>
                <a:gd name="T32" fmla="*/ 625 w 4251"/>
                <a:gd name="T33" fmla="*/ 3530 h 3843"/>
                <a:gd name="T34" fmla="*/ 1406 w 4251"/>
                <a:gd name="T35" fmla="*/ 3030 h 3843"/>
                <a:gd name="T36" fmla="*/ 3562 w 4251"/>
                <a:gd name="T37" fmla="*/ 2655 h 3843"/>
                <a:gd name="T38" fmla="*/ 4062 w 4251"/>
                <a:gd name="T39" fmla="*/ 1656 h 3843"/>
                <a:gd name="T40" fmla="*/ 3656 w 4251"/>
                <a:gd name="T41" fmla="*/ 750 h 3843"/>
                <a:gd name="T42" fmla="*/ 2094 w 4251"/>
                <a:gd name="T43" fmla="*/ 187 h 3843"/>
                <a:gd name="T44" fmla="*/ 719 w 4251"/>
                <a:gd name="T45" fmla="*/ 625 h 3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51" h="3843">
                  <a:moveTo>
                    <a:pt x="219" y="3717"/>
                  </a:moveTo>
                  <a:lnTo>
                    <a:pt x="219" y="3717"/>
                  </a:lnTo>
                  <a:cubicBezTo>
                    <a:pt x="219" y="3717"/>
                    <a:pt x="656" y="3342"/>
                    <a:pt x="594" y="2811"/>
                  </a:cubicBezTo>
                  <a:cubicBezTo>
                    <a:pt x="219" y="2499"/>
                    <a:pt x="0" y="2092"/>
                    <a:pt x="0" y="1656"/>
                  </a:cubicBezTo>
                  <a:cubicBezTo>
                    <a:pt x="0" y="1218"/>
                    <a:pt x="219" y="812"/>
                    <a:pt x="625" y="500"/>
                  </a:cubicBezTo>
                  <a:cubicBezTo>
                    <a:pt x="1031" y="187"/>
                    <a:pt x="1531" y="0"/>
                    <a:pt x="2094" y="0"/>
                  </a:cubicBezTo>
                  <a:lnTo>
                    <a:pt x="2094" y="0"/>
                  </a:lnTo>
                  <a:cubicBezTo>
                    <a:pt x="2781" y="0"/>
                    <a:pt x="3375" y="218"/>
                    <a:pt x="3781" y="625"/>
                  </a:cubicBezTo>
                  <a:cubicBezTo>
                    <a:pt x="4094" y="937"/>
                    <a:pt x="4250" y="1281"/>
                    <a:pt x="4250" y="1656"/>
                  </a:cubicBezTo>
                  <a:cubicBezTo>
                    <a:pt x="4250" y="2092"/>
                    <a:pt x="4031" y="2499"/>
                    <a:pt x="3656" y="2780"/>
                  </a:cubicBezTo>
                  <a:cubicBezTo>
                    <a:pt x="3125" y="3217"/>
                    <a:pt x="2344" y="3374"/>
                    <a:pt x="1469" y="3217"/>
                  </a:cubicBezTo>
                  <a:cubicBezTo>
                    <a:pt x="1125" y="3842"/>
                    <a:pt x="219" y="3717"/>
                    <a:pt x="219" y="3717"/>
                  </a:cubicBezTo>
                  <a:close/>
                  <a:moveTo>
                    <a:pt x="719" y="625"/>
                  </a:moveTo>
                  <a:lnTo>
                    <a:pt x="719" y="625"/>
                  </a:lnTo>
                  <a:cubicBezTo>
                    <a:pt x="375" y="906"/>
                    <a:pt x="156" y="1281"/>
                    <a:pt x="187" y="1656"/>
                  </a:cubicBezTo>
                  <a:cubicBezTo>
                    <a:pt x="219" y="2374"/>
                    <a:pt x="750" y="2686"/>
                    <a:pt x="750" y="2686"/>
                  </a:cubicBezTo>
                  <a:cubicBezTo>
                    <a:pt x="750" y="2686"/>
                    <a:pt x="875" y="3186"/>
                    <a:pt x="625" y="3530"/>
                  </a:cubicBezTo>
                  <a:cubicBezTo>
                    <a:pt x="1125" y="3499"/>
                    <a:pt x="1406" y="3030"/>
                    <a:pt x="1406" y="3030"/>
                  </a:cubicBezTo>
                  <a:cubicBezTo>
                    <a:pt x="1406" y="3030"/>
                    <a:pt x="2719" y="3342"/>
                    <a:pt x="3562" y="2655"/>
                  </a:cubicBezTo>
                  <a:cubicBezTo>
                    <a:pt x="3875" y="2374"/>
                    <a:pt x="4062" y="2030"/>
                    <a:pt x="4062" y="1656"/>
                  </a:cubicBezTo>
                  <a:cubicBezTo>
                    <a:pt x="4062" y="1312"/>
                    <a:pt x="3906" y="1031"/>
                    <a:pt x="3656" y="750"/>
                  </a:cubicBezTo>
                  <a:cubicBezTo>
                    <a:pt x="3281" y="375"/>
                    <a:pt x="2656" y="187"/>
                    <a:pt x="2094" y="187"/>
                  </a:cubicBezTo>
                  <a:cubicBezTo>
                    <a:pt x="1562" y="187"/>
                    <a:pt x="1094" y="343"/>
                    <a:pt x="719" y="62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17" name="Oval 16">
            <a:extLst>
              <a:ext uri="{FF2B5EF4-FFF2-40B4-BE49-F238E27FC236}">
                <a16:creationId xmlns:a16="http://schemas.microsoft.com/office/drawing/2014/main" id="{81CF0B15-F031-4AF7-B652-ABA92EA1C214}"/>
              </a:ext>
            </a:extLst>
          </p:cNvPr>
          <p:cNvSpPr/>
          <p:nvPr/>
        </p:nvSpPr>
        <p:spPr>
          <a:xfrm>
            <a:off x="10434353" y="36609"/>
            <a:ext cx="148708" cy="148708"/>
          </a:xfrm>
          <a:prstGeom prst="ellipse">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95C5C9"/>
              </a:solidFill>
              <a:effectLst/>
              <a:uLnTx/>
              <a:uFillTx/>
              <a:latin typeface="Corbel" panose="020B0503020204020204" pitchFamily="34" charset="0"/>
              <a:ea typeface="+mn-ea"/>
              <a:cs typeface="+mn-cs"/>
            </a:endParaRPr>
          </a:p>
        </p:txBody>
      </p:sp>
      <p:sp>
        <p:nvSpPr>
          <p:cNvPr id="18" name="TextBox 17">
            <a:extLst>
              <a:ext uri="{FF2B5EF4-FFF2-40B4-BE49-F238E27FC236}">
                <a16:creationId xmlns:a16="http://schemas.microsoft.com/office/drawing/2014/main" id="{54333A3E-F8F9-48B0-AA3F-8FF795166FC8}"/>
              </a:ext>
            </a:extLst>
          </p:cNvPr>
          <p:cNvSpPr txBox="1"/>
          <p:nvPr/>
        </p:nvSpPr>
        <p:spPr>
          <a:xfrm>
            <a:off x="10067055"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1</a:t>
            </a:r>
            <a:endParaRPr lang="nl-NL" noProof="0" dirty="0">
              <a:solidFill>
                <a:srgbClr val="95C5C9"/>
              </a:solidFill>
            </a:endParaRPr>
          </a:p>
        </p:txBody>
      </p:sp>
      <p:sp>
        <p:nvSpPr>
          <p:cNvPr id="19" name="TextBox 18">
            <a:extLst>
              <a:ext uri="{FF2B5EF4-FFF2-40B4-BE49-F238E27FC236}">
                <a16:creationId xmlns:a16="http://schemas.microsoft.com/office/drawing/2014/main" id="{F11BAC19-BDC6-4E18-91B2-ACB72F19CEBF}"/>
              </a:ext>
            </a:extLst>
          </p:cNvPr>
          <p:cNvSpPr txBox="1"/>
          <p:nvPr/>
        </p:nvSpPr>
        <p:spPr>
          <a:xfrm>
            <a:off x="10256482"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2</a:t>
            </a:r>
          </a:p>
        </p:txBody>
      </p:sp>
      <p:sp>
        <p:nvSpPr>
          <p:cNvPr id="20" name="TextBox 19">
            <a:extLst>
              <a:ext uri="{FF2B5EF4-FFF2-40B4-BE49-F238E27FC236}">
                <a16:creationId xmlns:a16="http://schemas.microsoft.com/office/drawing/2014/main" id="{BB2F4E2A-8086-4D51-9AA8-7AC4ECAAF631}"/>
              </a:ext>
            </a:extLst>
          </p:cNvPr>
          <p:cNvSpPr txBox="1"/>
          <p:nvPr/>
        </p:nvSpPr>
        <p:spPr>
          <a:xfrm>
            <a:off x="10445909" y="40328"/>
            <a:ext cx="137154" cy="141270"/>
          </a:xfrm>
          <a:prstGeom prst="rect">
            <a:avLst/>
          </a:prstGeom>
        </p:spPr>
        <p:txBody>
          <a:bodyPr vert="horz" wrap="square" lIns="0" tIns="0" rIns="0" bIns="0" rtlCol="0" anchor="ctr">
            <a:noAutofit/>
          </a:bodyPr>
          <a:lstStyle/>
          <a:p>
            <a:pPr marL="0" indent="0" algn="ctr">
              <a:buNone/>
            </a:pPr>
            <a:r>
              <a:rPr lang="nl-NL" sz="1000" b="1" noProof="0" dirty="0">
                <a:solidFill>
                  <a:srgbClr val="95C5C9"/>
                </a:solidFill>
              </a:rPr>
              <a:t>3</a:t>
            </a:r>
          </a:p>
        </p:txBody>
      </p:sp>
      <p:sp>
        <p:nvSpPr>
          <p:cNvPr id="25" name="TextBox 24">
            <a:extLst>
              <a:ext uri="{FF2B5EF4-FFF2-40B4-BE49-F238E27FC236}">
                <a16:creationId xmlns:a16="http://schemas.microsoft.com/office/drawing/2014/main" id="{ADD710EE-0F34-4A87-8A36-0E242C9E6556}"/>
              </a:ext>
            </a:extLst>
          </p:cNvPr>
          <p:cNvSpPr txBox="1"/>
          <p:nvPr/>
        </p:nvSpPr>
        <p:spPr>
          <a:xfrm>
            <a:off x="10635336"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4</a:t>
            </a:r>
            <a:endParaRPr lang="nl-NL" noProof="0" dirty="0">
              <a:solidFill>
                <a:srgbClr val="95C5C9"/>
              </a:solidFill>
            </a:endParaRPr>
          </a:p>
        </p:txBody>
      </p:sp>
      <p:sp>
        <p:nvSpPr>
          <p:cNvPr id="26" name="TextBox 25">
            <a:extLst>
              <a:ext uri="{FF2B5EF4-FFF2-40B4-BE49-F238E27FC236}">
                <a16:creationId xmlns:a16="http://schemas.microsoft.com/office/drawing/2014/main" id="{792CF7E5-8998-4A1D-8510-1A9E889D6396}"/>
              </a:ext>
            </a:extLst>
          </p:cNvPr>
          <p:cNvSpPr txBox="1"/>
          <p:nvPr/>
        </p:nvSpPr>
        <p:spPr>
          <a:xfrm>
            <a:off x="10824763"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5</a:t>
            </a:r>
            <a:endParaRPr lang="nl-NL" sz="1000" noProof="0" dirty="0">
              <a:solidFill>
                <a:srgbClr val="95C5C9"/>
              </a:solidFill>
            </a:endParaRPr>
          </a:p>
        </p:txBody>
      </p:sp>
      <p:sp>
        <p:nvSpPr>
          <p:cNvPr id="27" name="TextBox 26">
            <a:extLst>
              <a:ext uri="{FF2B5EF4-FFF2-40B4-BE49-F238E27FC236}">
                <a16:creationId xmlns:a16="http://schemas.microsoft.com/office/drawing/2014/main" id="{E40D0D37-126A-46F7-AC8C-5DCE0F803697}"/>
              </a:ext>
            </a:extLst>
          </p:cNvPr>
          <p:cNvSpPr txBox="1"/>
          <p:nvPr/>
        </p:nvSpPr>
        <p:spPr>
          <a:xfrm>
            <a:off x="11014190"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6</a:t>
            </a:r>
          </a:p>
        </p:txBody>
      </p:sp>
      <p:sp>
        <p:nvSpPr>
          <p:cNvPr id="28" name="TextBox 27">
            <a:extLst>
              <a:ext uri="{FF2B5EF4-FFF2-40B4-BE49-F238E27FC236}">
                <a16:creationId xmlns:a16="http://schemas.microsoft.com/office/drawing/2014/main" id="{D86987AA-49C4-4B15-83B2-6E315FA0C4A2}"/>
              </a:ext>
            </a:extLst>
          </p:cNvPr>
          <p:cNvSpPr txBox="1"/>
          <p:nvPr/>
        </p:nvSpPr>
        <p:spPr>
          <a:xfrm>
            <a:off x="11203617"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7</a:t>
            </a:r>
            <a:endParaRPr lang="nl-NL" sz="1000" noProof="0" dirty="0">
              <a:solidFill>
                <a:srgbClr val="95C5C9"/>
              </a:solidFill>
            </a:endParaRPr>
          </a:p>
        </p:txBody>
      </p:sp>
    </p:spTree>
    <p:extLst>
      <p:ext uri="{BB962C8B-B14F-4D97-AF65-F5344CB8AC3E}">
        <p14:creationId xmlns:p14="http://schemas.microsoft.com/office/powerpoint/2010/main" val="22543964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ABE98B0-3C8A-43C8-8200-5975A1E67A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66"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CABE98B0-3C8A-43C8-8200-5975A1E67A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1442" name="Picture 2">
            <a:extLst>
              <a:ext uri="{FF2B5EF4-FFF2-40B4-BE49-F238E27FC236}">
                <a16:creationId xmlns:a16="http://schemas.microsoft.com/office/drawing/2014/main" id="{F31421FC-687C-4775-BBCA-9AC90E0C78E6}"/>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D85439E5-6E0C-4BFB-9E2A-FA280E638BDE}"/>
              </a:ext>
            </a:extLst>
          </p:cNvPr>
          <p:cNvSpPr/>
          <p:nvPr/>
        </p:nvSpPr>
        <p:spPr>
          <a:xfrm>
            <a:off x="0" y="-2"/>
            <a:ext cx="12191999" cy="6858001"/>
          </a:xfrm>
          <a:prstGeom prst="rect">
            <a:avLst/>
          </a:prstGeom>
          <a:solidFill>
            <a:schemeClr val="bg1">
              <a:lumMod val="95000"/>
              <a:alpha val="84000"/>
            </a:schemeClr>
          </a:solidFill>
          <a:ln>
            <a:noFill/>
          </a:ln>
        </p:spPr>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0" indent="0">
              <a:lnSpc>
                <a:spcPct val="100000"/>
              </a:lnSpc>
              <a:buNone/>
            </a:pPr>
            <a:r>
              <a:rPr lang="nl-NL" sz="4400" b="1" dirty="0">
                <a:solidFill>
                  <a:srgbClr val="22777B"/>
                </a:solidFill>
              </a:rPr>
              <a:t>Vraag 4</a:t>
            </a:r>
          </a:p>
          <a:p>
            <a:pPr marL="0" indent="0">
              <a:lnSpc>
                <a:spcPct val="100000"/>
              </a:lnSpc>
              <a:buNone/>
            </a:pPr>
            <a:endParaRPr lang="nl-NL" sz="2400" dirty="0"/>
          </a:p>
          <a:p>
            <a:pPr marL="0" indent="0">
              <a:lnSpc>
                <a:spcPct val="100000"/>
              </a:lnSpc>
              <a:buNone/>
            </a:pPr>
            <a:r>
              <a:rPr lang="nl-NL" sz="2400" dirty="0"/>
              <a:t>Dank voor je antwoord, we hebben nu een beter beeld van de dynamiek. We gaan voor nu niet in op de verdeling van het lerarentekort binnen Amsterdam.</a:t>
            </a:r>
          </a:p>
          <a:p>
            <a:pPr marL="0" indent="0">
              <a:lnSpc>
                <a:spcPct val="100000"/>
              </a:lnSpc>
              <a:buNone/>
            </a:pPr>
            <a:r>
              <a:rPr lang="nl-NL" sz="2400" dirty="0"/>
              <a:t>Er bestaan natuurlijk veel maatregelen om het lerarentekort aan te pakken, die niet alleen Amsterdam raken maar ook impact hebben op omringende gemeenten. Met welke maatregelen denk je dat onze buurgemeenten het minst blij zijn? En bij welke maatregelen denk je dat onze buurgemeenten ons dankbaar zijn?</a:t>
            </a:r>
          </a:p>
          <a:p>
            <a:pPr marL="0" indent="0">
              <a:lnSpc>
                <a:spcPct val="100000"/>
              </a:lnSpc>
              <a:buNone/>
            </a:pPr>
            <a:endParaRPr lang="nl-NL" sz="2400" dirty="0">
              <a:solidFill>
                <a:srgbClr val="FFFFFF"/>
              </a:solidFill>
            </a:endParaRPr>
          </a:p>
        </p:txBody>
      </p:sp>
      <p:grpSp>
        <p:nvGrpSpPr>
          <p:cNvPr id="21" name="Group 20">
            <a:extLst>
              <a:ext uri="{FF2B5EF4-FFF2-40B4-BE49-F238E27FC236}">
                <a16:creationId xmlns:a16="http://schemas.microsoft.com/office/drawing/2014/main" id="{C5578B65-C922-42B5-B58E-017E05320628}"/>
              </a:ext>
            </a:extLst>
          </p:cNvPr>
          <p:cNvGrpSpPr/>
          <p:nvPr/>
        </p:nvGrpSpPr>
        <p:grpSpPr>
          <a:xfrm>
            <a:off x="2192835" y="237963"/>
            <a:ext cx="736493" cy="508712"/>
            <a:chOff x="2836863" y="3201988"/>
            <a:chExt cx="2001837" cy="1382712"/>
          </a:xfrm>
          <a:solidFill>
            <a:schemeClr val="tx2"/>
          </a:solidFill>
        </p:grpSpPr>
        <p:sp>
          <p:nvSpPr>
            <p:cNvPr id="22" name="Freeform 1">
              <a:extLst>
                <a:ext uri="{FF2B5EF4-FFF2-40B4-BE49-F238E27FC236}">
                  <a16:creationId xmlns:a16="http://schemas.microsoft.com/office/drawing/2014/main" id="{3B7896AF-670D-49F2-865F-D697DA861715}"/>
                </a:ext>
              </a:extLst>
            </p:cNvPr>
            <p:cNvSpPr>
              <a:spLocks noChangeArrowheads="1"/>
            </p:cNvSpPr>
            <p:nvPr/>
          </p:nvSpPr>
          <p:spPr bwMode="auto">
            <a:xfrm>
              <a:off x="2870200" y="3246438"/>
              <a:ext cx="1450975" cy="1247775"/>
            </a:xfrm>
            <a:custGeom>
              <a:avLst/>
              <a:gdLst>
                <a:gd name="T0" fmla="*/ 3625 w 4032"/>
                <a:gd name="T1" fmla="*/ 593 h 3468"/>
                <a:gd name="T2" fmla="*/ 3625 w 4032"/>
                <a:gd name="T3" fmla="*/ 593 h 3468"/>
                <a:gd name="T4" fmla="*/ 2000 w 4032"/>
                <a:gd name="T5" fmla="*/ 0 h 3468"/>
                <a:gd name="T6" fmla="*/ 593 w 4032"/>
                <a:gd name="T7" fmla="*/ 468 h 3468"/>
                <a:gd name="T8" fmla="*/ 593 w 4032"/>
                <a:gd name="T9" fmla="*/ 468 h 3468"/>
                <a:gd name="T10" fmla="*/ 31 w 4032"/>
                <a:gd name="T11" fmla="*/ 1531 h 3468"/>
                <a:gd name="T12" fmla="*/ 593 w 4032"/>
                <a:gd name="T13" fmla="*/ 2592 h 3468"/>
                <a:gd name="T14" fmla="*/ 500 w 4032"/>
                <a:gd name="T15" fmla="*/ 3374 h 3468"/>
                <a:gd name="T16" fmla="*/ 406 w 4032"/>
                <a:gd name="T17" fmla="*/ 3467 h 3468"/>
                <a:gd name="T18" fmla="*/ 531 w 4032"/>
                <a:gd name="T19" fmla="*/ 3467 h 3468"/>
                <a:gd name="T20" fmla="*/ 1343 w 4032"/>
                <a:gd name="T21" fmla="*/ 2967 h 3468"/>
                <a:gd name="T22" fmla="*/ 2093 w 4032"/>
                <a:gd name="T23" fmla="*/ 3030 h 3468"/>
                <a:gd name="T24" fmla="*/ 3531 w 4032"/>
                <a:gd name="T25" fmla="*/ 2592 h 3468"/>
                <a:gd name="T26" fmla="*/ 4031 w 4032"/>
                <a:gd name="T27" fmla="*/ 1531 h 3468"/>
                <a:gd name="T28" fmla="*/ 3625 w 4032"/>
                <a:gd name="T29" fmla="*/ 593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2" h="3468">
                  <a:moveTo>
                    <a:pt x="3625" y="593"/>
                  </a:moveTo>
                  <a:lnTo>
                    <a:pt x="3625" y="593"/>
                  </a:lnTo>
                  <a:cubicBezTo>
                    <a:pt x="3250" y="218"/>
                    <a:pt x="2625" y="0"/>
                    <a:pt x="2000" y="0"/>
                  </a:cubicBezTo>
                  <a:cubicBezTo>
                    <a:pt x="1468" y="0"/>
                    <a:pt x="1000" y="156"/>
                    <a:pt x="593" y="468"/>
                  </a:cubicBezTo>
                  <a:lnTo>
                    <a:pt x="593" y="468"/>
                  </a:lnTo>
                  <a:cubicBezTo>
                    <a:pt x="218" y="781"/>
                    <a:pt x="0" y="1156"/>
                    <a:pt x="31" y="1531"/>
                  </a:cubicBezTo>
                  <a:cubicBezTo>
                    <a:pt x="62" y="2217"/>
                    <a:pt x="500" y="2530"/>
                    <a:pt x="593" y="2592"/>
                  </a:cubicBezTo>
                  <a:cubicBezTo>
                    <a:pt x="625" y="2717"/>
                    <a:pt x="687" y="3092"/>
                    <a:pt x="500" y="3374"/>
                  </a:cubicBezTo>
                  <a:cubicBezTo>
                    <a:pt x="406" y="3467"/>
                    <a:pt x="406" y="3467"/>
                    <a:pt x="406" y="3467"/>
                  </a:cubicBezTo>
                  <a:cubicBezTo>
                    <a:pt x="531" y="3467"/>
                    <a:pt x="531" y="3467"/>
                    <a:pt x="531" y="3467"/>
                  </a:cubicBezTo>
                  <a:cubicBezTo>
                    <a:pt x="1000" y="3436"/>
                    <a:pt x="1281" y="3092"/>
                    <a:pt x="1343" y="2967"/>
                  </a:cubicBezTo>
                  <a:cubicBezTo>
                    <a:pt x="1437" y="2999"/>
                    <a:pt x="1718" y="3061"/>
                    <a:pt x="2093" y="3030"/>
                  </a:cubicBezTo>
                  <a:cubicBezTo>
                    <a:pt x="2656" y="3030"/>
                    <a:pt x="3156" y="2874"/>
                    <a:pt x="3531" y="2592"/>
                  </a:cubicBezTo>
                  <a:cubicBezTo>
                    <a:pt x="3843" y="2280"/>
                    <a:pt x="4031" y="1905"/>
                    <a:pt x="4031" y="1531"/>
                  </a:cubicBezTo>
                  <a:cubicBezTo>
                    <a:pt x="4031" y="1218"/>
                    <a:pt x="3906" y="906"/>
                    <a:pt x="3625" y="5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b="1"/>
            </a:p>
          </p:txBody>
        </p:sp>
        <p:sp>
          <p:nvSpPr>
            <p:cNvPr id="23" name="Freeform 2">
              <a:extLst>
                <a:ext uri="{FF2B5EF4-FFF2-40B4-BE49-F238E27FC236}">
                  <a16:creationId xmlns:a16="http://schemas.microsoft.com/office/drawing/2014/main" id="{CAD3F577-FAD4-4169-913E-31809A4FFBDC}"/>
                </a:ext>
              </a:extLst>
            </p:cNvPr>
            <p:cNvSpPr>
              <a:spLocks noChangeArrowheads="1"/>
            </p:cNvSpPr>
            <p:nvPr/>
          </p:nvSpPr>
          <p:spPr bwMode="auto">
            <a:xfrm>
              <a:off x="3983038" y="3201988"/>
              <a:ext cx="855662" cy="1338262"/>
            </a:xfrm>
            <a:custGeom>
              <a:avLst/>
              <a:gdLst>
                <a:gd name="T0" fmla="*/ 1781 w 2376"/>
                <a:gd name="T1" fmla="*/ 2811 h 3718"/>
                <a:gd name="T2" fmla="*/ 1781 w 2376"/>
                <a:gd name="T3" fmla="*/ 2811 h 3718"/>
                <a:gd name="T4" fmla="*/ 2375 w 2376"/>
                <a:gd name="T5" fmla="*/ 1687 h 3718"/>
                <a:gd name="T6" fmla="*/ 1750 w 2376"/>
                <a:gd name="T7" fmla="*/ 500 h 3718"/>
                <a:gd name="T8" fmla="*/ 282 w 2376"/>
                <a:gd name="T9" fmla="*/ 0 h 3718"/>
                <a:gd name="T10" fmla="*/ 0 w 2376"/>
                <a:gd name="T11" fmla="*/ 31 h 3718"/>
                <a:gd name="T12" fmla="*/ 782 w 2376"/>
                <a:gd name="T13" fmla="*/ 531 h 3718"/>
                <a:gd name="T14" fmla="*/ 1250 w 2376"/>
                <a:gd name="T15" fmla="*/ 1656 h 3718"/>
                <a:gd name="T16" fmla="*/ 625 w 2376"/>
                <a:gd name="T17" fmla="*/ 2905 h 3718"/>
                <a:gd name="T18" fmla="*/ 0 w 2376"/>
                <a:gd name="T19" fmla="*/ 3280 h 3718"/>
                <a:gd name="T20" fmla="*/ 875 w 2376"/>
                <a:gd name="T21" fmla="*/ 3249 h 3718"/>
                <a:gd name="T22" fmla="*/ 1938 w 2376"/>
                <a:gd name="T23" fmla="*/ 3717 h 3718"/>
                <a:gd name="T24" fmla="*/ 2219 w 2376"/>
                <a:gd name="T25" fmla="*/ 3717 h 3718"/>
                <a:gd name="T26" fmla="*/ 2032 w 2376"/>
                <a:gd name="T27" fmla="*/ 3530 h 3718"/>
                <a:gd name="T28" fmla="*/ 1781 w 2376"/>
                <a:gd name="T29" fmla="*/ 2811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6" h="3718">
                  <a:moveTo>
                    <a:pt x="1781" y="2811"/>
                  </a:moveTo>
                  <a:lnTo>
                    <a:pt x="1781" y="2811"/>
                  </a:lnTo>
                  <a:cubicBezTo>
                    <a:pt x="2157" y="2499"/>
                    <a:pt x="2375" y="2092"/>
                    <a:pt x="2375" y="1687"/>
                  </a:cubicBezTo>
                  <a:cubicBezTo>
                    <a:pt x="2375" y="1218"/>
                    <a:pt x="2188" y="812"/>
                    <a:pt x="1750" y="500"/>
                  </a:cubicBezTo>
                  <a:cubicBezTo>
                    <a:pt x="1344" y="187"/>
                    <a:pt x="844" y="0"/>
                    <a:pt x="282" y="0"/>
                  </a:cubicBezTo>
                  <a:cubicBezTo>
                    <a:pt x="188" y="0"/>
                    <a:pt x="94" y="0"/>
                    <a:pt x="0" y="31"/>
                  </a:cubicBezTo>
                  <a:cubicBezTo>
                    <a:pt x="282" y="125"/>
                    <a:pt x="563" y="312"/>
                    <a:pt x="782" y="531"/>
                  </a:cubicBezTo>
                  <a:cubicBezTo>
                    <a:pt x="1094" y="843"/>
                    <a:pt x="1250" y="1218"/>
                    <a:pt x="1250" y="1656"/>
                  </a:cubicBezTo>
                  <a:cubicBezTo>
                    <a:pt x="1250" y="2124"/>
                    <a:pt x="1032" y="2592"/>
                    <a:pt x="625" y="2905"/>
                  </a:cubicBezTo>
                  <a:cubicBezTo>
                    <a:pt x="438" y="3061"/>
                    <a:pt x="219" y="3186"/>
                    <a:pt x="0" y="3280"/>
                  </a:cubicBezTo>
                  <a:cubicBezTo>
                    <a:pt x="282" y="3311"/>
                    <a:pt x="563" y="3280"/>
                    <a:pt x="875" y="3249"/>
                  </a:cubicBezTo>
                  <a:cubicBezTo>
                    <a:pt x="1125" y="3561"/>
                    <a:pt x="1469" y="3717"/>
                    <a:pt x="1938" y="3717"/>
                  </a:cubicBezTo>
                  <a:cubicBezTo>
                    <a:pt x="2219" y="3717"/>
                    <a:pt x="2219" y="3717"/>
                    <a:pt x="2219" y="3717"/>
                  </a:cubicBezTo>
                  <a:cubicBezTo>
                    <a:pt x="2032" y="3530"/>
                    <a:pt x="2032" y="3530"/>
                    <a:pt x="2032" y="3530"/>
                  </a:cubicBezTo>
                  <a:cubicBezTo>
                    <a:pt x="1813" y="3311"/>
                    <a:pt x="1750" y="3092"/>
                    <a:pt x="1781" y="28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b="1"/>
            </a:p>
          </p:txBody>
        </p:sp>
        <p:sp>
          <p:nvSpPr>
            <p:cNvPr id="24" name="Freeform 3">
              <a:extLst>
                <a:ext uri="{FF2B5EF4-FFF2-40B4-BE49-F238E27FC236}">
                  <a16:creationId xmlns:a16="http://schemas.microsoft.com/office/drawing/2014/main" id="{8EDCAE06-9FA2-4B47-B181-6930B4A19E56}"/>
                </a:ext>
              </a:extLst>
            </p:cNvPr>
            <p:cNvSpPr>
              <a:spLocks noChangeArrowheads="1"/>
            </p:cNvSpPr>
            <p:nvPr/>
          </p:nvSpPr>
          <p:spPr bwMode="auto">
            <a:xfrm>
              <a:off x="2836863" y="3201988"/>
              <a:ext cx="1530350" cy="1382712"/>
            </a:xfrm>
            <a:custGeom>
              <a:avLst/>
              <a:gdLst>
                <a:gd name="T0" fmla="*/ 219 w 4251"/>
                <a:gd name="T1" fmla="*/ 3717 h 3843"/>
                <a:gd name="T2" fmla="*/ 219 w 4251"/>
                <a:gd name="T3" fmla="*/ 3717 h 3843"/>
                <a:gd name="T4" fmla="*/ 594 w 4251"/>
                <a:gd name="T5" fmla="*/ 2811 h 3843"/>
                <a:gd name="T6" fmla="*/ 0 w 4251"/>
                <a:gd name="T7" fmla="*/ 1656 h 3843"/>
                <a:gd name="T8" fmla="*/ 625 w 4251"/>
                <a:gd name="T9" fmla="*/ 500 h 3843"/>
                <a:gd name="T10" fmla="*/ 2094 w 4251"/>
                <a:gd name="T11" fmla="*/ 0 h 3843"/>
                <a:gd name="T12" fmla="*/ 2094 w 4251"/>
                <a:gd name="T13" fmla="*/ 0 h 3843"/>
                <a:gd name="T14" fmla="*/ 3781 w 4251"/>
                <a:gd name="T15" fmla="*/ 625 h 3843"/>
                <a:gd name="T16" fmla="*/ 4250 w 4251"/>
                <a:gd name="T17" fmla="*/ 1656 h 3843"/>
                <a:gd name="T18" fmla="*/ 3656 w 4251"/>
                <a:gd name="T19" fmla="*/ 2780 h 3843"/>
                <a:gd name="T20" fmla="*/ 1469 w 4251"/>
                <a:gd name="T21" fmla="*/ 3217 h 3843"/>
                <a:gd name="T22" fmla="*/ 219 w 4251"/>
                <a:gd name="T23" fmla="*/ 3717 h 3843"/>
                <a:gd name="T24" fmla="*/ 719 w 4251"/>
                <a:gd name="T25" fmla="*/ 625 h 3843"/>
                <a:gd name="T26" fmla="*/ 719 w 4251"/>
                <a:gd name="T27" fmla="*/ 625 h 3843"/>
                <a:gd name="T28" fmla="*/ 187 w 4251"/>
                <a:gd name="T29" fmla="*/ 1656 h 3843"/>
                <a:gd name="T30" fmla="*/ 750 w 4251"/>
                <a:gd name="T31" fmla="*/ 2686 h 3843"/>
                <a:gd name="T32" fmla="*/ 625 w 4251"/>
                <a:gd name="T33" fmla="*/ 3530 h 3843"/>
                <a:gd name="T34" fmla="*/ 1406 w 4251"/>
                <a:gd name="T35" fmla="*/ 3030 h 3843"/>
                <a:gd name="T36" fmla="*/ 3562 w 4251"/>
                <a:gd name="T37" fmla="*/ 2655 h 3843"/>
                <a:gd name="T38" fmla="*/ 4062 w 4251"/>
                <a:gd name="T39" fmla="*/ 1656 h 3843"/>
                <a:gd name="T40" fmla="*/ 3656 w 4251"/>
                <a:gd name="T41" fmla="*/ 750 h 3843"/>
                <a:gd name="T42" fmla="*/ 2094 w 4251"/>
                <a:gd name="T43" fmla="*/ 187 h 3843"/>
                <a:gd name="T44" fmla="*/ 719 w 4251"/>
                <a:gd name="T45" fmla="*/ 625 h 3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51" h="3843">
                  <a:moveTo>
                    <a:pt x="219" y="3717"/>
                  </a:moveTo>
                  <a:lnTo>
                    <a:pt x="219" y="3717"/>
                  </a:lnTo>
                  <a:cubicBezTo>
                    <a:pt x="219" y="3717"/>
                    <a:pt x="656" y="3342"/>
                    <a:pt x="594" y="2811"/>
                  </a:cubicBezTo>
                  <a:cubicBezTo>
                    <a:pt x="219" y="2499"/>
                    <a:pt x="0" y="2092"/>
                    <a:pt x="0" y="1656"/>
                  </a:cubicBezTo>
                  <a:cubicBezTo>
                    <a:pt x="0" y="1218"/>
                    <a:pt x="219" y="812"/>
                    <a:pt x="625" y="500"/>
                  </a:cubicBezTo>
                  <a:cubicBezTo>
                    <a:pt x="1031" y="187"/>
                    <a:pt x="1531" y="0"/>
                    <a:pt x="2094" y="0"/>
                  </a:cubicBezTo>
                  <a:lnTo>
                    <a:pt x="2094" y="0"/>
                  </a:lnTo>
                  <a:cubicBezTo>
                    <a:pt x="2781" y="0"/>
                    <a:pt x="3375" y="218"/>
                    <a:pt x="3781" y="625"/>
                  </a:cubicBezTo>
                  <a:cubicBezTo>
                    <a:pt x="4094" y="937"/>
                    <a:pt x="4250" y="1281"/>
                    <a:pt x="4250" y="1656"/>
                  </a:cubicBezTo>
                  <a:cubicBezTo>
                    <a:pt x="4250" y="2092"/>
                    <a:pt x="4031" y="2499"/>
                    <a:pt x="3656" y="2780"/>
                  </a:cubicBezTo>
                  <a:cubicBezTo>
                    <a:pt x="3125" y="3217"/>
                    <a:pt x="2344" y="3374"/>
                    <a:pt x="1469" y="3217"/>
                  </a:cubicBezTo>
                  <a:cubicBezTo>
                    <a:pt x="1125" y="3842"/>
                    <a:pt x="219" y="3717"/>
                    <a:pt x="219" y="3717"/>
                  </a:cubicBezTo>
                  <a:close/>
                  <a:moveTo>
                    <a:pt x="719" y="625"/>
                  </a:moveTo>
                  <a:lnTo>
                    <a:pt x="719" y="625"/>
                  </a:lnTo>
                  <a:cubicBezTo>
                    <a:pt x="375" y="906"/>
                    <a:pt x="156" y="1281"/>
                    <a:pt x="187" y="1656"/>
                  </a:cubicBezTo>
                  <a:cubicBezTo>
                    <a:pt x="219" y="2374"/>
                    <a:pt x="750" y="2686"/>
                    <a:pt x="750" y="2686"/>
                  </a:cubicBezTo>
                  <a:cubicBezTo>
                    <a:pt x="750" y="2686"/>
                    <a:pt x="875" y="3186"/>
                    <a:pt x="625" y="3530"/>
                  </a:cubicBezTo>
                  <a:cubicBezTo>
                    <a:pt x="1125" y="3499"/>
                    <a:pt x="1406" y="3030"/>
                    <a:pt x="1406" y="3030"/>
                  </a:cubicBezTo>
                  <a:cubicBezTo>
                    <a:pt x="1406" y="3030"/>
                    <a:pt x="2719" y="3342"/>
                    <a:pt x="3562" y="2655"/>
                  </a:cubicBezTo>
                  <a:cubicBezTo>
                    <a:pt x="3875" y="2374"/>
                    <a:pt x="4062" y="2030"/>
                    <a:pt x="4062" y="1656"/>
                  </a:cubicBezTo>
                  <a:cubicBezTo>
                    <a:pt x="4062" y="1312"/>
                    <a:pt x="3906" y="1031"/>
                    <a:pt x="3656" y="750"/>
                  </a:cubicBezTo>
                  <a:cubicBezTo>
                    <a:pt x="3281" y="375"/>
                    <a:pt x="2656" y="187"/>
                    <a:pt x="2094" y="187"/>
                  </a:cubicBezTo>
                  <a:cubicBezTo>
                    <a:pt x="1562" y="187"/>
                    <a:pt x="1094" y="343"/>
                    <a:pt x="719" y="62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b="1"/>
            </a:p>
          </p:txBody>
        </p:sp>
      </p:grpSp>
      <p:pic>
        <p:nvPicPr>
          <p:cNvPr id="20" name="Graphic 19" descr="Person with idea with solid fill">
            <a:extLst>
              <a:ext uri="{FF2B5EF4-FFF2-40B4-BE49-F238E27FC236}">
                <a16:creationId xmlns:a16="http://schemas.microsoft.com/office/drawing/2014/main" id="{03E1D482-4002-4B58-A9B4-198ABC27C92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81325" y="5444567"/>
            <a:ext cx="914400" cy="914400"/>
          </a:xfrm>
          <a:prstGeom prst="rect">
            <a:avLst/>
          </a:prstGeom>
        </p:spPr>
      </p:pic>
      <p:sp>
        <p:nvSpPr>
          <p:cNvPr id="25" name="Oval 24">
            <a:extLst>
              <a:ext uri="{FF2B5EF4-FFF2-40B4-BE49-F238E27FC236}">
                <a16:creationId xmlns:a16="http://schemas.microsoft.com/office/drawing/2014/main" id="{4D7CFF6A-A532-4C47-AF37-4E65A7BA38BA}"/>
              </a:ext>
            </a:extLst>
          </p:cNvPr>
          <p:cNvSpPr/>
          <p:nvPr/>
        </p:nvSpPr>
        <p:spPr>
          <a:xfrm>
            <a:off x="10629559" y="36609"/>
            <a:ext cx="148708" cy="148708"/>
          </a:xfrm>
          <a:prstGeom prst="ellipse">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95C5C9"/>
              </a:solidFill>
              <a:effectLst/>
              <a:uLnTx/>
              <a:uFillTx/>
              <a:latin typeface="Corbel" panose="020B0503020204020204" pitchFamily="34" charset="0"/>
              <a:ea typeface="+mn-ea"/>
              <a:cs typeface="+mn-cs"/>
            </a:endParaRPr>
          </a:p>
        </p:txBody>
      </p:sp>
      <p:sp>
        <p:nvSpPr>
          <p:cNvPr id="26" name="TextBox 25">
            <a:extLst>
              <a:ext uri="{FF2B5EF4-FFF2-40B4-BE49-F238E27FC236}">
                <a16:creationId xmlns:a16="http://schemas.microsoft.com/office/drawing/2014/main" id="{E8027DD6-163C-4CE5-82C5-13ADD36B157B}"/>
              </a:ext>
            </a:extLst>
          </p:cNvPr>
          <p:cNvSpPr txBox="1"/>
          <p:nvPr/>
        </p:nvSpPr>
        <p:spPr>
          <a:xfrm>
            <a:off x="10067055"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1</a:t>
            </a:r>
            <a:endParaRPr lang="nl-NL" noProof="0" dirty="0">
              <a:solidFill>
                <a:srgbClr val="95C5C9"/>
              </a:solidFill>
            </a:endParaRPr>
          </a:p>
        </p:txBody>
      </p:sp>
      <p:sp>
        <p:nvSpPr>
          <p:cNvPr id="27" name="TextBox 26">
            <a:extLst>
              <a:ext uri="{FF2B5EF4-FFF2-40B4-BE49-F238E27FC236}">
                <a16:creationId xmlns:a16="http://schemas.microsoft.com/office/drawing/2014/main" id="{9B0636F9-156C-47B4-91AF-4EDD8847BC91}"/>
              </a:ext>
            </a:extLst>
          </p:cNvPr>
          <p:cNvSpPr txBox="1"/>
          <p:nvPr/>
        </p:nvSpPr>
        <p:spPr>
          <a:xfrm>
            <a:off x="10256482"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2</a:t>
            </a:r>
          </a:p>
        </p:txBody>
      </p:sp>
      <p:sp>
        <p:nvSpPr>
          <p:cNvPr id="28" name="TextBox 27">
            <a:extLst>
              <a:ext uri="{FF2B5EF4-FFF2-40B4-BE49-F238E27FC236}">
                <a16:creationId xmlns:a16="http://schemas.microsoft.com/office/drawing/2014/main" id="{47FEEFE8-07D2-438E-8704-780F1E9E1371}"/>
              </a:ext>
            </a:extLst>
          </p:cNvPr>
          <p:cNvSpPr txBox="1"/>
          <p:nvPr/>
        </p:nvSpPr>
        <p:spPr>
          <a:xfrm>
            <a:off x="10445909"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3</a:t>
            </a:r>
          </a:p>
        </p:txBody>
      </p:sp>
      <p:sp>
        <p:nvSpPr>
          <p:cNvPr id="29" name="TextBox 28">
            <a:extLst>
              <a:ext uri="{FF2B5EF4-FFF2-40B4-BE49-F238E27FC236}">
                <a16:creationId xmlns:a16="http://schemas.microsoft.com/office/drawing/2014/main" id="{4260DE38-EA4A-430A-973A-C5F7C3D699F8}"/>
              </a:ext>
            </a:extLst>
          </p:cNvPr>
          <p:cNvSpPr txBox="1"/>
          <p:nvPr/>
        </p:nvSpPr>
        <p:spPr>
          <a:xfrm>
            <a:off x="10635336" y="40328"/>
            <a:ext cx="137154" cy="141270"/>
          </a:xfrm>
          <a:prstGeom prst="rect">
            <a:avLst/>
          </a:prstGeom>
        </p:spPr>
        <p:txBody>
          <a:bodyPr vert="horz" wrap="square" lIns="0" tIns="0" rIns="0" bIns="0" rtlCol="0" anchor="ctr">
            <a:noAutofit/>
          </a:bodyPr>
          <a:lstStyle/>
          <a:p>
            <a:pPr marL="0" indent="0" algn="ctr">
              <a:buNone/>
            </a:pPr>
            <a:r>
              <a:rPr lang="nl-NL" sz="1000" b="1" dirty="0">
                <a:solidFill>
                  <a:srgbClr val="95C5C9"/>
                </a:solidFill>
              </a:rPr>
              <a:t>4</a:t>
            </a:r>
            <a:endParaRPr lang="nl-NL" b="1" noProof="0" dirty="0">
              <a:solidFill>
                <a:srgbClr val="95C5C9"/>
              </a:solidFill>
            </a:endParaRPr>
          </a:p>
        </p:txBody>
      </p:sp>
      <p:sp>
        <p:nvSpPr>
          <p:cNvPr id="30" name="TextBox 29">
            <a:extLst>
              <a:ext uri="{FF2B5EF4-FFF2-40B4-BE49-F238E27FC236}">
                <a16:creationId xmlns:a16="http://schemas.microsoft.com/office/drawing/2014/main" id="{FAF736BA-A8B6-4436-A460-52CEE29B2DB5}"/>
              </a:ext>
            </a:extLst>
          </p:cNvPr>
          <p:cNvSpPr txBox="1"/>
          <p:nvPr/>
        </p:nvSpPr>
        <p:spPr>
          <a:xfrm>
            <a:off x="10824763"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5</a:t>
            </a:r>
            <a:endParaRPr lang="nl-NL" sz="1000" noProof="0" dirty="0">
              <a:solidFill>
                <a:srgbClr val="95C5C9"/>
              </a:solidFill>
            </a:endParaRPr>
          </a:p>
        </p:txBody>
      </p:sp>
      <p:sp>
        <p:nvSpPr>
          <p:cNvPr id="31" name="TextBox 30">
            <a:extLst>
              <a:ext uri="{FF2B5EF4-FFF2-40B4-BE49-F238E27FC236}">
                <a16:creationId xmlns:a16="http://schemas.microsoft.com/office/drawing/2014/main" id="{EEC1BCC9-D882-4C6C-BE1B-2D68E2084A29}"/>
              </a:ext>
            </a:extLst>
          </p:cNvPr>
          <p:cNvSpPr txBox="1"/>
          <p:nvPr/>
        </p:nvSpPr>
        <p:spPr>
          <a:xfrm>
            <a:off x="11014190"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6</a:t>
            </a:r>
          </a:p>
        </p:txBody>
      </p:sp>
      <p:sp>
        <p:nvSpPr>
          <p:cNvPr id="32" name="TextBox 31">
            <a:extLst>
              <a:ext uri="{FF2B5EF4-FFF2-40B4-BE49-F238E27FC236}">
                <a16:creationId xmlns:a16="http://schemas.microsoft.com/office/drawing/2014/main" id="{F4B1BA1C-E194-4F7C-87DE-58C0BEC0260E}"/>
              </a:ext>
            </a:extLst>
          </p:cNvPr>
          <p:cNvSpPr txBox="1"/>
          <p:nvPr/>
        </p:nvSpPr>
        <p:spPr>
          <a:xfrm>
            <a:off x="11203617"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7</a:t>
            </a:r>
            <a:endParaRPr lang="nl-NL" sz="1000" noProof="0" dirty="0">
              <a:solidFill>
                <a:srgbClr val="95C5C9"/>
              </a:solidFill>
            </a:endParaRPr>
          </a:p>
        </p:txBody>
      </p:sp>
    </p:spTree>
    <p:extLst>
      <p:ext uri="{BB962C8B-B14F-4D97-AF65-F5344CB8AC3E}">
        <p14:creationId xmlns:p14="http://schemas.microsoft.com/office/powerpoint/2010/main" val="8670397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ABE98B0-3C8A-43C8-8200-5975A1E67A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90"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CABE98B0-3C8A-43C8-8200-5975A1E67A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1442" name="Picture 2">
            <a:extLst>
              <a:ext uri="{FF2B5EF4-FFF2-40B4-BE49-F238E27FC236}">
                <a16:creationId xmlns:a16="http://schemas.microsoft.com/office/drawing/2014/main" id="{F31421FC-687C-4775-BBCA-9AC90E0C78E6}"/>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D85439E5-6E0C-4BFB-9E2A-FA280E638BDE}"/>
              </a:ext>
            </a:extLst>
          </p:cNvPr>
          <p:cNvSpPr/>
          <p:nvPr/>
        </p:nvSpPr>
        <p:spPr>
          <a:xfrm>
            <a:off x="0" y="-2"/>
            <a:ext cx="12192000" cy="6858001"/>
          </a:xfrm>
          <a:prstGeom prst="rect">
            <a:avLst/>
          </a:prstGeom>
          <a:solidFill>
            <a:schemeClr val="bg1">
              <a:lumMod val="95000"/>
              <a:alpha val="84000"/>
            </a:schemeClr>
          </a:solidFill>
          <a:ln>
            <a:noFill/>
          </a:ln>
        </p:spPr>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0" indent="0">
              <a:lnSpc>
                <a:spcPct val="100000"/>
              </a:lnSpc>
              <a:buNone/>
            </a:pPr>
            <a:r>
              <a:rPr lang="nl-NL" sz="4400" b="1" dirty="0">
                <a:solidFill>
                  <a:srgbClr val="22777B"/>
                </a:solidFill>
              </a:rPr>
              <a:t>Vraag 4</a:t>
            </a:r>
          </a:p>
          <a:p>
            <a:pPr marL="0" indent="0">
              <a:lnSpc>
                <a:spcPct val="100000"/>
              </a:lnSpc>
              <a:buNone/>
            </a:pPr>
            <a:endParaRPr lang="nl-NL" sz="2400" dirty="0"/>
          </a:p>
          <a:p>
            <a:pPr marL="0" indent="0">
              <a:lnSpc>
                <a:spcPct val="100000"/>
              </a:lnSpc>
              <a:buNone/>
            </a:pPr>
            <a:r>
              <a:rPr lang="nl-NL" sz="2400" dirty="0"/>
              <a:t>Dank voor je antwoord, we hebben nu een beter beeld van de dynamiek. We gaan voor nu niet in op de verdeling van het lerarentekort binnen Amsterdam.</a:t>
            </a:r>
          </a:p>
          <a:p>
            <a:pPr marL="0" indent="0">
              <a:lnSpc>
                <a:spcPct val="100000"/>
              </a:lnSpc>
              <a:buNone/>
            </a:pPr>
            <a:r>
              <a:rPr lang="nl-NL" sz="2400" dirty="0"/>
              <a:t>Er bestaan natuurlijk veel maatregelen om het lerarentekort aan te pakken, die niet alleen Amsterdam raken maar ook impact hebben op omringende gemeenten. Met welke maatregelen denk je dat onze buurgemeenten het minst blij zijn? En bij welke maatregelen denk je dat onze buurgemeenten ons dankbaar zijn?</a:t>
            </a:r>
          </a:p>
          <a:p>
            <a:pPr marL="0" indent="0">
              <a:lnSpc>
                <a:spcPct val="100000"/>
              </a:lnSpc>
              <a:buNone/>
            </a:pPr>
            <a:endParaRPr lang="nl-NL" sz="2400" dirty="0">
              <a:solidFill>
                <a:srgbClr val="FFFFFF"/>
              </a:solidFill>
            </a:endParaRPr>
          </a:p>
        </p:txBody>
      </p:sp>
      <p:grpSp>
        <p:nvGrpSpPr>
          <p:cNvPr id="21" name="Group 20">
            <a:extLst>
              <a:ext uri="{FF2B5EF4-FFF2-40B4-BE49-F238E27FC236}">
                <a16:creationId xmlns:a16="http://schemas.microsoft.com/office/drawing/2014/main" id="{C5578B65-C922-42B5-B58E-017E05320628}"/>
              </a:ext>
            </a:extLst>
          </p:cNvPr>
          <p:cNvGrpSpPr/>
          <p:nvPr/>
        </p:nvGrpSpPr>
        <p:grpSpPr>
          <a:xfrm>
            <a:off x="2192835" y="237963"/>
            <a:ext cx="736493" cy="508712"/>
            <a:chOff x="2836863" y="3201988"/>
            <a:chExt cx="2001837" cy="1382712"/>
          </a:xfrm>
          <a:solidFill>
            <a:schemeClr val="tx2"/>
          </a:solidFill>
        </p:grpSpPr>
        <p:sp>
          <p:nvSpPr>
            <p:cNvPr id="22" name="Freeform 1">
              <a:extLst>
                <a:ext uri="{FF2B5EF4-FFF2-40B4-BE49-F238E27FC236}">
                  <a16:creationId xmlns:a16="http://schemas.microsoft.com/office/drawing/2014/main" id="{3B7896AF-670D-49F2-865F-D697DA861715}"/>
                </a:ext>
              </a:extLst>
            </p:cNvPr>
            <p:cNvSpPr>
              <a:spLocks noChangeArrowheads="1"/>
            </p:cNvSpPr>
            <p:nvPr/>
          </p:nvSpPr>
          <p:spPr bwMode="auto">
            <a:xfrm>
              <a:off x="2870200" y="3246438"/>
              <a:ext cx="1450975" cy="1247775"/>
            </a:xfrm>
            <a:custGeom>
              <a:avLst/>
              <a:gdLst>
                <a:gd name="T0" fmla="*/ 3625 w 4032"/>
                <a:gd name="T1" fmla="*/ 593 h 3468"/>
                <a:gd name="T2" fmla="*/ 3625 w 4032"/>
                <a:gd name="T3" fmla="*/ 593 h 3468"/>
                <a:gd name="T4" fmla="*/ 2000 w 4032"/>
                <a:gd name="T5" fmla="*/ 0 h 3468"/>
                <a:gd name="T6" fmla="*/ 593 w 4032"/>
                <a:gd name="T7" fmla="*/ 468 h 3468"/>
                <a:gd name="T8" fmla="*/ 593 w 4032"/>
                <a:gd name="T9" fmla="*/ 468 h 3468"/>
                <a:gd name="T10" fmla="*/ 31 w 4032"/>
                <a:gd name="T11" fmla="*/ 1531 h 3468"/>
                <a:gd name="T12" fmla="*/ 593 w 4032"/>
                <a:gd name="T13" fmla="*/ 2592 h 3468"/>
                <a:gd name="T14" fmla="*/ 500 w 4032"/>
                <a:gd name="T15" fmla="*/ 3374 h 3468"/>
                <a:gd name="T16" fmla="*/ 406 w 4032"/>
                <a:gd name="T17" fmla="*/ 3467 h 3468"/>
                <a:gd name="T18" fmla="*/ 531 w 4032"/>
                <a:gd name="T19" fmla="*/ 3467 h 3468"/>
                <a:gd name="T20" fmla="*/ 1343 w 4032"/>
                <a:gd name="T21" fmla="*/ 2967 h 3468"/>
                <a:gd name="T22" fmla="*/ 2093 w 4032"/>
                <a:gd name="T23" fmla="*/ 3030 h 3468"/>
                <a:gd name="T24" fmla="*/ 3531 w 4032"/>
                <a:gd name="T25" fmla="*/ 2592 h 3468"/>
                <a:gd name="T26" fmla="*/ 4031 w 4032"/>
                <a:gd name="T27" fmla="*/ 1531 h 3468"/>
                <a:gd name="T28" fmla="*/ 3625 w 4032"/>
                <a:gd name="T29" fmla="*/ 593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2" h="3468">
                  <a:moveTo>
                    <a:pt x="3625" y="593"/>
                  </a:moveTo>
                  <a:lnTo>
                    <a:pt x="3625" y="593"/>
                  </a:lnTo>
                  <a:cubicBezTo>
                    <a:pt x="3250" y="218"/>
                    <a:pt x="2625" y="0"/>
                    <a:pt x="2000" y="0"/>
                  </a:cubicBezTo>
                  <a:cubicBezTo>
                    <a:pt x="1468" y="0"/>
                    <a:pt x="1000" y="156"/>
                    <a:pt x="593" y="468"/>
                  </a:cubicBezTo>
                  <a:lnTo>
                    <a:pt x="593" y="468"/>
                  </a:lnTo>
                  <a:cubicBezTo>
                    <a:pt x="218" y="781"/>
                    <a:pt x="0" y="1156"/>
                    <a:pt x="31" y="1531"/>
                  </a:cubicBezTo>
                  <a:cubicBezTo>
                    <a:pt x="62" y="2217"/>
                    <a:pt x="500" y="2530"/>
                    <a:pt x="593" y="2592"/>
                  </a:cubicBezTo>
                  <a:cubicBezTo>
                    <a:pt x="625" y="2717"/>
                    <a:pt x="687" y="3092"/>
                    <a:pt x="500" y="3374"/>
                  </a:cubicBezTo>
                  <a:cubicBezTo>
                    <a:pt x="406" y="3467"/>
                    <a:pt x="406" y="3467"/>
                    <a:pt x="406" y="3467"/>
                  </a:cubicBezTo>
                  <a:cubicBezTo>
                    <a:pt x="531" y="3467"/>
                    <a:pt x="531" y="3467"/>
                    <a:pt x="531" y="3467"/>
                  </a:cubicBezTo>
                  <a:cubicBezTo>
                    <a:pt x="1000" y="3436"/>
                    <a:pt x="1281" y="3092"/>
                    <a:pt x="1343" y="2967"/>
                  </a:cubicBezTo>
                  <a:cubicBezTo>
                    <a:pt x="1437" y="2999"/>
                    <a:pt x="1718" y="3061"/>
                    <a:pt x="2093" y="3030"/>
                  </a:cubicBezTo>
                  <a:cubicBezTo>
                    <a:pt x="2656" y="3030"/>
                    <a:pt x="3156" y="2874"/>
                    <a:pt x="3531" y="2592"/>
                  </a:cubicBezTo>
                  <a:cubicBezTo>
                    <a:pt x="3843" y="2280"/>
                    <a:pt x="4031" y="1905"/>
                    <a:pt x="4031" y="1531"/>
                  </a:cubicBezTo>
                  <a:cubicBezTo>
                    <a:pt x="4031" y="1218"/>
                    <a:pt x="3906" y="906"/>
                    <a:pt x="3625" y="5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3" name="Freeform 2">
              <a:extLst>
                <a:ext uri="{FF2B5EF4-FFF2-40B4-BE49-F238E27FC236}">
                  <a16:creationId xmlns:a16="http://schemas.microsoft.com/office/drawing/2014/main" id="{CAD3F577-FAD4-4169-913E-31809A4FFBDC}"/>
                </a:ext>
              </a:extLst>
            </p:cNvPr>
            <p:cNvSpPr>
              <a:spLocks noChangeArrowheads="1"/>
            </p:cNvSpPr>
            <p:nvPr/>
          </p:nvSpPr>
          <p:spPr bwMode="auto">
            <a:xfrm>
              <a:off x="3983038" y="3201988"/>
              <a:ext cx="855662" cy="1338262"/>
            </a:xfrm>
            <a:custGeom>
              <a:avLst/>
              <a:gdLst>
                <a:gd name="T0" fmla="*/ 1781 w 2376"/>
                <a:gd name="T1" fmla="*/ 2811 h 3718"/>
                <a:gd name="T2" fmla="*/ 1781 w 2376"/>
                <a:gd name="T3" fmla="*/ 2811 h 3718"/>
                <a:gd name="T4" fmla="*/ 2375 w 2376"/>
                <a:gd name="T5" fmla="*/ 1687 h 3718"/>
                <a:gd name="T6" fmla="*/ 1750 w 2376"/>
                <a:gd name="T7" fmla="*/ 500 h 3718"/>
                <a:gd name="T8" fmla="*/ 282 w 2376"/>
                <a:gd name="T9" fmla="*/ 0 h 3718"/>
                <a:gd name="T10" fmla="*/ 0 w 2376"/>
                <a:gd name="T11" fmla="*/ 31 h 3718"/>
                <a:gd name="T12" fmla="*/ 782 w 2376"/>
                <a:gd name="T13" fmla="*/ 531 h 3718"/>
                <a:gd name="T14" fmla="*/ 1250 w 2376"/>
                <a:gd name="T15" fmla="*/ 1656 h 3718"/>
                <a:gd name="T16" fmla="*/ 625 w 2376"/>
                <a:gd name="T17" fmla="*/ 2905 h 3718"/>
                <a:gd name="T18" fmla="*/ 0 w 2376"/>
                <a:gd name="T19" fmla="*/ 3280 h 3718"/>
                <a:gd name="T20" fmla="*/ 875 w 2376"/>
                <a:gd name="T21" fmla="*/ 3249 h 3718"/>
                <a:gd name="T22" fmla="*/ 1938 w 2376"/>
                <a:gd name="T23" fmla="*/ 3717 h 3718"/>
                <a:gd name="T24" fmla="*/ 2219 w 2376"/>
                <a:gd name="T25" fmla="*/ 3717 h 3718"/>
                <a:gd name="T26" fmla="*/ 2032 w 2376"/>
                <a:gd name="T27" fmla="*/ 3530 h 3718"/>
                <a:gd name="T28" fmla="*/ 1781 w 2376"/>
                <a:gd name="T29" fmla="*/ 2811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6" h="3718">
                  <a:moveTo>
                    <a:pt x="1781" y="2811"/>
                  </a:moveTo>
                  <a:lnTo>
                    <a:pt x="1781" y="2811"/>
                  </a:lnTo>
                  <a:cubicBezTo>
                    <a:pt x="2157" y="2499"/>
                    <a:pt x="2375" y="2092"/>
                    <a:pt x="2375" y="1687"/>
                  </a:cubicBezTo>
                  <a:cubicBezTo>
                    <a:pt x="2375" y="1218"/>
                    <a:pt x="2188" y="812"/>
                    <a:pt x="1750" y="500"/>
                  </a:cubicBezTo>
                  <a:cubicBezTo>
                    <a:pt x="1344" y="187"/>
                    <a:pt x="844" y="0"/>
                    <a:pt x="282" y="0"/>
                  </a:cubicBezTo>
                  <a:cubicBezTo>
                    <a:pt x="188" y="0"/>
                    <a:pt x="94" y="0"/>
                    <a:pt x="0" y="31"/>
                  </a:cubicBezTo>
                  <a:cubicBezTo>
                    <a:pt x="282" y="125"/>
                    <a:pt x="563" y="312"/>
                    <a:pt x="782" y="531"/>
                  </a:cubicBezTo>
                  <a:cubicBezTo>
                    <a:pt x="1094" y="843"/>
                    <a:pt x="1250" y="1218"/>
                    <a:pt x="1250" y="1656"/>
                  </a:cubicBezTo>
                  <a:cubicBezTo>
                    <a:pt x="1250" y="2124"/>
                    <a:pt x="1032" y="2592"/>
                    <a:pt x="625" y="2905"/>
                  </a:cubicBezTo>
                  <a:cubicBezTo>
                    <a:pt x="438" y="3061"/>
                    <a:pt x="219" y="3186"/>
                    <a:pt x="0" y="3280"/>
                  </a:cubicBezTo>
                  <a:cubicBezTo>
                    <a:pt x="282" y="3311"/>
                    <a:pt x="563" y="3280"/>
                    <a:pt x="875" y="3249"/>
                  </a:cubicBezTo>
                  <a:cubicBezTo>
                    <a:pt x="1125" y="3561"/>
                    <a:pt x="1469" y="3717"/>
                    <a:pt x="1938" y="3717"/>
                  </a:cubicBezTo>
                  <a:cubicBezTo>
                    <a:pt x="2219" y="3717"/>
                    <a:pt x="2219" y="3717"/>
                    <a:pt x="2219" y="3717"/>
                  </a:cubicBezTo>
                  <a:cubicBezTo>
                    <a:pt x="2032" y="3530"/>
                    <a:pt x="2032" y="3530"/>
                    <a:pt x="2032" y="3530"/>
                  </a:cubicBezTo>
                  <a:cubicBezTo>
                    <a:pt x="1813" y="3311"/>
                    <a:pt x="1750" y="3092"/>
                    <a:pt x="1781" y="28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4" name="Freeform 3">
              <a:extLst>
                <a:ext uri="{FF2B5EF4-FFF2-40B4-BE49-F238E27FC236}">
                  <a16:creationId xmlns:a16="http://schemas.microsoft.com/office/drawing/2014/main" id="{8EDCAE06-9FA2-4B47-B181-6930B4A19E56}"/>
                </a:ext>
              </a:extLst>
            </p:cNvPr>
            <p:cNvSpPr>
              <a:spLocks noChangeArrowheads="1"/>
            </p:cNvSpPr>
            <p:nvPr/>
          </p:nvSpPr>
          <p:spPr bwMode="auto">
            <a:xfrm>
              <a:off x="2836863" y="3201988"/>
              <a:ext cx="1530350" cy="1382712"/>
            </a:xfrm>
            <a:custGeom>
              <a:avLst/>
              <a:gdLst>
                <a:gd name="T0" fmla="*/ 219 w 4251"/>
                <a:gd name="T1" fmla="*/ 3717 h 3843"/>
                <a:gd name="T2" fmla="*/ 219 w 4251"/>
                <a:gd name="T3" fmla="*/ 3717 h 3843"/>
                <a:gd name="T4" fmla="*/ 594 w 4251"/>
                <a:gd name="T5" fmla="*/ 2811 h 3843"/>
                <a:gd name="T6" fmla="*/ 0 w 4251"/>
                <a:gd name="T7" fmla="*/ 1656 h 3843"/>
                <a:gd name="T8" fmla="*/ 625 w 4251"/>
                <a:gd name="T9" fmla="*/ 500 h 3843"/>
                <a:gd name="T10" fmla="*/ 2094 w 4251"/>
                <a:gd name="T11" fmla="*/ 0 h 3843"/>
                <a:gd name="T12" fmla="*/ 2094 w 4251"/>
                <a:gd name="T13" fmla="*/ 0 h 3843"/>
                <a:gd name="T14" fmla="*/ 3781 w 4251"/>
                <a:gd name="T15" fmla="*/ 625 h 3843"/>
                <a:gd name="T16" fmla="*/ 4250 w 4251"/>
                <a:gd name="T17" fmla="*/ 1656 h 3843"/>
                <a:gd name="T18" fmla="*/ 3656 w 4251"/>
                <a:gd name="T19" fmla="*/ 2780 h 3843"/>
                <a:gd name="T20" fmla="*/ 1469 w 4251"/>
                <a:gd name="T21" fmla="*/ 3217 h 3843"/>
                <a:gd name="T22" fmla="*/ 219 w 4251"/>
                <a:gd name="T23" fmla="*/ 3717 h 3843"/>
                <a:gd name="T24" fmla="*/ 719 w 4251"/>
                <a:gd name="T25" fmla="*/ 625 h 3843"/>
                <a:gd name="T26" fmla="*/ 719 w 4251"/>
                <a:gd name="T27" fmla="*/ 625 h 3843"/>
                <a:gd name="T28" fmla="*/ 187 w 4251"/>
                <a:gd name="T29" fmla="*/ 1656 h 3843"/>
                <a:gd name="T30" fmla="*/ 750 w 4251"/>
                <a:gd name="T31" fmla="*/ 2686 h 3843"/>
                <a:gd name="T32" fmla="*/ 625 w 4251"/>
                <a:gd name="T33" fmla="*/ 3530 h 3843"/>
                <a:gd name="T34" fmla="*/ 1406 w 4251"/>
                <a:gd name="T35" fmla="*/ 3030 h 3843"/>
                <a:gd name="T36" fmla="*/ 3562 w 4251"/>
                <a:gd name="T37" fmla="*/ 2655 h 3843"/>
                <a:gd name="T38" fmla="*/ 4062 w 4251"/>
                <a:gd name="T39" fmla="*/ 1656 h 3843"/>
                <a:gd name="T40" fmla="*/ 3656 w 4251"/>
                <a:gd name="T41" fmla="*/ 750 h 3843"/>
                <a:gd name="T42" fmla="*/ 2094 w 4251"/>
                <a:gd name="T43" fmla="*/ 187 h 3843"/>
                <a:gd name="T44" fmla="*/ 719 w 4251"/>
                <a:gd name="T45" fmla="*/ 625 h 3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51" h="3843">
                  <a:moveTo>
                    <a:pt x="219" y="3717"/>
                  </a:moveTo>
                  <a:lnTo>
                    <a:pt x="219" y="3717"/>
                  </a:lnTo>
                  <a:cubicBezTo>
                    <a:pt x="219" y="3717"/>
                    <a:pt x="656" y="3342"/>
                    <a:pt x="594" y="2811"/>
                  </a:cubicBezTo>
                  <a:cubicBezTo>
                    <a:pt x="219" y="2499"/>
                    <a:pt x="0" y="2092"/>
                    <a:pt x="0" y="1656"/>
                  </a:cubicBezTo>
                  <a:cubicBezTo>
                    <a:pt x="0" y="1218"/>
                    <a:pt x="219" y="812"/>
                    <a:pt x="625" y="500"/>
                  </a:cubicBezTo>
                  <a:cubicBezTo>
                    <a:pt x="1031" y="187"/>
                    <a:pt x="1531" y="0"/>
                    <a:pt x="2094" y="0"/>
                  </a:cubicBezTo>
                  <a:lnTo>
                    <a:pt x="2094" y="0"/>
                  </a:lnTo>
                  <a:cubicBezTo>
                    <a:pt x="2781" y="0"/>
                    <a:pt x="3375" y="218"/>
                    <a:pt x="3781" y="625"/>
                  </a:cubicBezTo>
                  <a:cubicBezTo>
                    <a:pt x="4094" y="937"/>
                    <a:pt x="4250" y="1281"/>
                    <a:pt x="4250" y="1656"/>
                  </a:cubicBezTo>
                  <a:cubicBezTo>
                    <a:pt x="4250" y="2092"/>
                    <a:pt x="4031" y="2499"/>
                    <a:pt x="3656" y="2780"/>
                  </a:cubicBezTo>
                  <a:cubicBezTo>
                    <a:pt x="3125" y="3217"/>
                    <a:pt x="2344" y="3374"/>
                    <a:pt x="1469" y="3217"/>
                  </a:cubicBezTo>
                  <a:cubicBezTo>
                    <a:pt x="1125" y="3842"/>
                    <a:pt x="219" y="3717"/>
                    <a:pt x="219" y="3717"/>
                  </a:cubicBezTo>
                  <a:close/>
                  <a:moveTo>
                    <a:pt x="719" y="625"/>
                  </a:moveTo>
                  <a:lnTo>
                    <a:pt x="719" y="625"/>
                  </a:lnTo>
                  <a:cubicBezTo>
                    <a:pt x="375" y="906"/>
                    <a:pt x="156" y="1281"/>
                    <a:pt x="187" y="1656"/>
                  </a:cubicBezTo>
                  <a:cubicBezTo>
                    <a:pt x="219" y="2374"/>
                    <a:pt x="750" y="2686"/>
                    <a:pt x="750" y="2686"/>
                  </a:cubicBezTo>
                  <a:cubicBezTo>
                    <a:pt x="750" y="2686"/>
                    <a:pt x="875" y="3186"/>
                    <a:pt x="625" y="3530"/>
                  </a:cubicBezTo>
                  <a:cubicBezTo>
                    <a:pt x="1125" y="3499"/>
                    <a:pt x="1406" y="3030"/>
                    <a:pt x="1406" y="3030"/>
                  </a:cubicBezTo>
                  <a:cubicBezTo>
                    <a:pt x="1406" y="3030"/>
                    <a:pt x="2719" y="3342"/>
                    <a:pt x="3562" y="2655"/>
                  </a:cubicBezTo>
                  <a:cubicBezTo>
                    <a:pt x="3875" y="2374"/>
                    <a:pt x="4062" y="2030"/>
                    <a:pt x="4062" y="1656"/>
                  </a:cubicBezTo>
                  <a:cubicBezTo>
                    <a:pt x="4062" y="1312"/>
                    <a:pt x="3906" y="1031"/>
                    <a:pt x="3656" y="750"/>
                  </a:cubicBezTo>
                  <a:cubicBezTo>
                    <a:pt x="3281" y="375"/>
                    <a:pt x="2656" y="187"/>
                    <a:pt x="2094" y="187"/>
                  </a:cubicBezTo>
                  <a:cubicBezTo>
                    <a:pt x="1562" y="187"/>
                    <a:pt x="1094" y="343"/>
                    <a:pt x="719" y="62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pic>
        <p:nvPicPr>
          <p:cNvPr id="20" name="Graphic 19" descr="Person with idea with solid fill">
            <a:extLst>
              <a:ext uri="{FF2B5EF4-FFF2-40B4-BE49-F238E27FC236}">
                <a16:creationId xmlns:a16="http://schemas.microsoft.com/office/drawing/2014/main" id="{03E1D482-4002-4B58-A9B4-198ABC27C92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81325" y="5444567"/>
            <a:ext cx="914400" cy="914400"/>
          </a:xfrm>
          <a:prstGeom prst="rect">
            <a:avLst/>
          </a:prstGeom>
        </p:spPr>
      </p:pic>
      <p:sp>
        <p:nvSpPr>
          <p:cNvPr id="26" name="Rectangle 25">
            <a:extLst>
              <a:ext uri="{FF2B5EF4-FFF2-40B4-BE49-F238E27FC236}">
                <a16:creationId xmlns:a16="http://schemas.microsoft.com/office/drawing/2014/main" id="{34A7C03D-1451-4200-808E-0C0E804C9C58}"/>
              </a:ext>
            </a:extLst>
          </p:cNvPr>
          <p:cNvSpPr/>
          <p:nvPr/>
        </p:nvSpPr>
        <p:spPr>
          <a:xfrm>
            <a:off x="0" y="5327788"/>
            <a:ext cx="12192000" cy="1147958"/>
          </a:xfrm>
          <a:prstGeom prst="rect">
            <a:avLst/>
          </a:prstGeom>
          <a:solidFill>
            <a:schemeClr val="bg1"/>
          </a:solidFill>
          <a:ln w="28575">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27" name="Graphic 26" descr="Person with idea with solid fill">
            <a:extLst>
              <a:ext uri="{FF2B5EF4-FFF2-40B4-BE49-F238E27FC236}">
                <a16:creationId xmlns:a16="http://schemas.microsoft.com/office/drawing/2014/main" id="{69C37B79-C390-42CC-A95D-A6A213DA6C9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81325" y="5444567"/>
            <a:ext cx="914400" cy="914400"/>
          </a:xfrm>
          <a:prstGeom prst="rect">
            <a:avLst/>
          </a:prstGeom>
        </p:spPr>
      </p:pic>
      <p:sp>
        <p:nvSpPr>
          <p:cNvPr id="28" name="TextBox 27">
            <a:extLst>
              <a:ext uri="{FF2B5EF4-FFF2-40B4-BE49-F238E27FC236}">
                <a16:creationId xmlns:a16="http://schemas.microsoft.com/office/drawing/2014/main" id="{CB6931AC-3632-48ED-A886-607C5EC6E1CA}"/>
              </a:ext>
            </a:extLst>
          </p:cNvPr>
          <p:cNvSpPr txBox="1"/>
          <p:nvPr/>
        </p:nvSpPr>
        <p:spPr>
          <a:xfrm>
            <a:off x="2755863" y="5340942"/>
            <a:ext cx="8946609" cy="1121652"/>
          </a:xfrm>
          <a:prstGeom prst="rect">
            <a:avLst/>
          </a:prstGeom>
          <a:ln w="28575">
            <a:noFill/>
          </a:ln>
          <a:extLst>
            <a:ext uri="{91240B29-F687-4F45-9708-019B960494DF}">
              <a14:hiddenLine xmlns:a14="http://schemas.microsoft.com/office/drawing/2010/main" w="28575">
                <a:solidFill>
                  <a:srgbClr val="22777B"/>
                </a:solidFill>
              </a14:hiddenLine>
            </a:ext>
          </a:extLst>
        </p:spPr>
        <p:txBody>
          <a:bodyPr vert="horz" wrap="square" lIns="91440" tIns="45720" rIns="91440" bIns="45720" rtlCol="0" anchor="ctr">
            <a:noAutofit/>
          </a:bodyPr>
          <a:lstStyle/>
          <a:p>
            <a:pPr marL="0" indent="0" algn="l">
              <a:buNone/>
            </a:pPr>
            <a:r>
              <a:rPr lang="nl-NL" sz="1800" b="1" i="1" noProof="0" dirty="0"/>
              <a:t>Hint: </a:t>
            </a:r>
            <a:r>
              <a:rPr lang="nl-NL" sz="1800" b="1" noProof="0" dirty="0"/>
              <a:t>Buurgemeenten hebben mogelijk ook te maken met schaarste aan leraren, en willen in ieder geval niet hun leraren verliezen aan Amsterdam. Bedenk welke maatregelen er voor zouden zorgen</a:t>
            </a:r>
            <a:r>
              <a:rPr lang="nl-NL" sz="1800" b="1" dirty="0"/>
              <a:t> dat leraren uit buurgemeenten naar Amsterdam trekken en bij welke maatregelen de buurgemeenten een graantje kunnen meepikken.</a:t>
            </a:r>
          </a:p>
        </p:txBody>
      </p:sp>
      <p:sp>
        <p:nvSpPr>
          <p:cNvPr id="25" name="Oval 24">
            <a:extLst>
              <a:ext uri="{FF2B5EF4-FFF2-40B4-BE49-F238E27FC236}">
                <a16:creationId xmlns:a16="http://schemas.microsoft.com/office/drawing/2014/main" id="{4AE706B0-BAEF-497A-B1C3-FD88E13419DD}"/>
              </a:ext>
            </a:extLst>
          </p:cNvPr>
          <p:cNvSpPr/>
          <p:nvPr/>
        </p:nvSpPr>
        <p:spPr>
          <a:xfrm>
            <a:off x="10629559" y="36609"/>
            <a:ext cx="148708" cy="148708"/>
          </a:xfrm>
          <a:prstGeom prst="ellipse">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95C5C9"/>
              </a:solidFill>
              <a:effectLst/>
              <a:uLnTx/>
              <a:uFillTx/>
              <a:latin typeface="Corbel" panose="020B0503020204020204" pitchFamily="34" charset="0"/>
              <a:ea typeface="+mn-ea"/>
              <a:cs typeface="+mn-cs"/>
            </a:endParaRPr>
          </a:p>
        </p:txBody>
      </p:sp>
      <p:sp>
        <p:nvSpPr>
          <p:cNvPr id="29" name="TextBox 28">
            <a:extLst>
              <a:ext uri="{FF2B5EF4-FFF2-40B4-BE49-F238E27FC236}">
                <a16:creationId xmlns:a16="http://schemas.microsoft.com/office/drawing/2014/main" id="{147CF410-04EE-44D6-93D5-3BF5D49954E1}"/>
              </a:ext>
            </a:extLst>
          </p:cNvPr>
          <p:cNvSpPr txBox="1"/>
          <p:nvPr/>
        </p:nvSpPr>
        <p:spPr>
          <a:xfrm>
            <a:off x="10067055"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1</a:t>
            </a:r>
            <a:endParaRPr lang="nl-NL" noProof="0" dirty="0">
              <a:solidFill>
                <a:srgbClr val="95C5C9"/>
              </a:solidFill>
            </a:endParaRPr>
          </a:p>
        </p:txBody>
      </p:sp>
      <p:sp>
        <p:nvSpPr>
          <p:cNvPr id="30" name="TextBox 29">
            <a:extLst>
              <a:ext uri="{FF2B5EF4-FFF2-40B4-BE49-F238E27FC236}">
                <a16:creationId xmlns:a16="http://schemas.microsoft.com/office/drawing/2014/main" id="{700BED18-DEC3-4D12-BC4B-B471BF9FE513}"/>
              </a:ext>
            </a:extLst>
          </p:cNvPr>
          <p:cNvSpPr txBox="1"/>
          <p:nvPr/>
        </p:nvSpPr>
        <p:spPr>
          <a:xfrm>
            <a:off x="10256482"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2</a:t>
            </a:r>
          </a:p>
        </p:txBody>
      </p:sp>
      <p:sp>
        <p:nvSpPr>
          <p:cNvPr id="31" name="TextBox 30">
            <a:extLst>
              <a:ext uri="{FF2B5EF4-FFF2-40B4-BE49-F238E27FC236}">
                <a16:creationId xmlns:a16="http://schemas.microsoft.com/office/drawing/2014/main" id="{9262DF3E-0825-4513-93B6-45B9607FE0F4}"/>
              </a:ext>
            </a:extLst>
          </p:cNvPr>
          <p:cNvSpPr txBox="1"/>
          <p:nvPr/>
        </p:nvSpPr>
        <p:spPr>
          <a:xfrm>
            <a:off x="10445909"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3</a:t>
            </a:r>
          </a:p>
        </p:txBody>
      </p:sp>
      <p:sp>
        <p:nvSpPr>
          <p:cNvPr id="32" name="TextBox 31">
            <a:extLst>
              <a:ext uri="{FF2B5EF4-FFF2-40B4-BE49-F238E27FC236}">
                <a16:creationId xmlns:a16="http://schemas.microsoft.com/office/drawing/2014/main" id="{B18AD5F6-7B7D-4CD1-9AB8-83CFD307C347}"/>
              </a:ext>
            </a:extLst>
          </p:cNvPr>
          <p:cNvSpPr txBox="1"/>
          <p:nvPr/>
        </p:nvSpPr>
        <p:spPr>
          <a:xfrm>
            <a:off x="10635336" y="40328"/>
            <a:ext cx="137154" cy="141270"/>
          </a:xfrm>
          <a:prstGeom prst="rect">
            <a:avLst/>
          </a:prstGeom>
        </p:spPr>
        <p:txBody>
          <a:bodyPr vert="horz" wrap="square" lIns="0" tIns="0" rIns="0" bIns="0" rtlCol="0" anchor="ctr">
            <a:noAutofit/>
          </a:bodyPr>
          <a:lstStyle/>
          <a:p>
            <a:pPr marL="0" indent="0" algn="ctr">
              <a:buNone/>
            </a:pPr>
            <a:r>
              <a:rPr lang="nl-NL" sz="1000" b="1" dirty="0">
                <a:solidFill>
                  <a:srgbClr val="95C5C9"/>
                </a:solidFill>
              </a:rPr>
              <a:t>4</a:t>
            </a:r>
            <a:endParaRPr lang="nl-NL" b="1" noProof="0" dirty="0">
              <a:solidFill>
                <a:srgbClr val="95C5C9"/>
              </a:solidFill>
            </a:endParaRPr>
          </a:p>
        </p:txBody>
      </p:sp>
      <p:sp>
        <p:nvSpPr>
          <p:cNvPr id="33" name="TextBox 32">
            <a:extLst>
              <a:ext uri="{FF2B5EF4-FFF2-40B4-BE49-F238E27FC236}">
                <a16:creationId xmlns:a16="http://schemas.microsoft.com/office/drawing/2014/main" id="{CDA4CD86-87A1-4984-8975-41A77CC5D6B0}"/>
              </a:ext>
            </a:extLst>
          </p:cNvPr>
          <p:cNvSpPr txBox="1"/>
          <p:nvPr/>
        </p:nvSpPr>
        <p:spPr>
          <a:xfrm>
            <a:off x="10824763"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5</a:t>
            </a:r>
            <a:endParaRPr lang="nl-NL" sz="1000" noProof="0" dirty="0">
              <a:solidFill>
                <a:srgbClr val="95C5C9"/>
              </a:solidFill>
            </a:endParaRPr>
          </a:p>
        </p:txBody>
      </p:sp>
      <p:sp>
        <p:nvSpPr>
          <p:cNvPr id="34" name="TextBox 33">
            <a:extLst>
              <a:ext uri="{FF2B5EF4-FFF2-40B4-BE49-F238E27FC236}">
                <a16:creationId xmlns:a16="http://schemas.microsoft.com/office/drawing/2014/main" id="{6B22626E-7B94-46AE-8F3E-9E541C736E3E}"/>
              </a:ext>
            </a:extLst>
          </p:cNvPr>
          <p:cNvSpPr txBox="1"/>
          <p:nvPr/>
        </p:nvSpPr>
        <p:spPr>
          <a:xfrm>
            <a:off x="11014190"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6</a:t>
            </a:r>
          </a:p>
        </p:txBody>
      </p:sp>
      <p:sp>
        <p:nvSpPr>
          <p:cNvPr id="35" name="TextBox 34">
            <a:extLst>
              <a:ext uri="{FF2B5EF4-FFF2-40B4-BE49-F238E27FC236}">
                <a16:creationId xmlns:a16="http://schemas.microsoft.com/office/drawing/2014/main" id="{EB264A01-7CAA-4FDD-9141-BDA6A82F00A2}"/>
              </a:ext>
            </a:extLst>
          </p:cNvPr>
          <p:cNvSpPr txBox="1"/>
          <p:nvPr/>
        </p:nvSpPr>
        <p:spPr>
          <a:xfrm>
            <a:off x="11203617"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7</a:t>
            </a:r>
            <a:endParaRPr lang="nl-NL" sz="1000" noProof="0" dirty="0">
              <a:solidFill>
                <a:srgbClr val="95C5C9"/>
              </a:solidFill>
            </a:endParaRPr>
          </a:p>
        </p:txBody>
      </p:sp>
    </p:spTree>
    <p:extLst>
      <p:ext uri="{BB962C8B-B14F-4D97-AF65-F5344CB8AC3E}">
        <p14:creationId xmlns:p14="http://schemas.microsoft.com/office/powerpoint/2010/main" val="24432429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ABE98B0-3C8A-43C8-8200-5975A1E67A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14"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CABE98B0-3C8A-43C8-8200-5975A1E67A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B7005C69-C8D5-4CD2-A222-DB83596ED306}"/>
              </a:ext>
            </a:extLst>
          </p:cNvPr>
          <p:cNvSpPr>
            <a:spLocks noGrp="1"/>
          </p:cNvSpPr>
          <p:nvPr>
            <p:ph type="ftr" sz="quarter" idx="3"/>
          </p:nvPr>
        </p:nvSpPr>
        <p:spPr/>
        <p:txBody>
          <a:bodyPr/>
          <a:lstStyle/>
          <a:p>
            <a:r>
              <a:rPr lang="nl-NL" noProof="0"/>
              <a:t>Bron: </a:t>
            </a:r>
          </a:p>
        </p:txBody>
      </p:sp>
      <p:sp>
        <p:nvSpPr>
          <p:cNvPr id="5" name="Slide Number Placeholder 4">
            <a:extLst>
              <a:ext uri="{FF2B5EF4-FFF2-40B4-BE49-F238E27FC236}">
                <a16:creationId xmlns:a16="http://schemas.microsoft.com/office/drawing/2014/main" id="{884FD416-CB43-4A83-8EDE-DF8450D7AC65}"/>
              </a:ext>
            </a:extLst>
          </p:cNvPr>
          <p:cNvSpPr>
            <a:spLocks noGrp="1"/>
          </p:cNvSpPr>
          <p:nvPr>
            <p:ph type="sldNum" sz="quarter" idx="12"/>
          </p:nvPr>
        </p:nvSpPr>
        <p:spPr/>
        <p:txBody>
          <a:bodyPr/>
          <a:lstStyle/>
          <a:p>
            <a:fld id="{992CD0B2-8AB2-4C6C-8876-E15753662C9B}" type="slidenum">
              <a:rPr lang="nl-NL" noProof="0" smtClean="0"/>
              <a:pPr/>
              <a:t>19</a:t>
            </a:fld>
            <a:endParaRPr lang="nl-NL" noProof="0"/>
          </a:p>
        </p:txBody>
      </p:sp>
      <p:sp>
        <p:nvSpPr>
          <p:cNvPr id="30" name="Text Placeholder 5">
            <a:extLst>
              <a:ext uri="{FF2B5EF4-FFF2-40B4-BE49-F238E27FC236}">
                <a16:creationId xmlns:a16="http://schemas.microsoft.com/office/drawing/2014/main" id="{7347DDFB-778D-40B7-AB84-CA2BD033379C}"/>
              </a:ext>
            </a:extLst>
          </p:cNvPr>
          <p:cNvSpPr txBox="1">
            <a:spLocks/>
          </p:cNvSpPr>
          <p:nvPr/>
        </p:nvSpPr>
        <p:spPr>
          <a:xfrm>
            <a:off x="6031344" y="3673659"/>
            <a:ext cx="5511555" cy="2635066"/>
          </a:xfrm>
          <a:prstGeom prst="rect">
            <a:avLst/>
          </a:prstGeom>
          <a:solidFill>
            <a:schemeClr val="bg1"/>
          </a:solidFill>
          <a:ln>
            <a:solidFill>
              <a:schemeClr val="bg1">
                <a:lumMod val="85000"/>
              </a:schemeClr>
            </a:solidFill>
          </a:ln>
        </p:spPr>
        <p:txBody>
          <a:bodyPr vert="horz" lIns="54000" tIns="72000" rIns="54000" bIns="72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nSpc>
                <a:spcPct val="100000"/>
              </a:lnSpc>
            </a:pPr>
            <a:r>
              <a:rPr lang="nl-NL" sz="1200" dirty="0"/>
              <a:t>Hoe zou een onvoldoende antwoord eruit zien?</a:t>
            </a:r>
            <a:br>
              <a:rPr lang="nl-NL" sz="1200" dirty="0"/>
            </a:br>
            <a:r>
              <a:rPr lang="nl-NL" sz="1200" b="0" dirty="0"/>
              <a:t>Een logische manier om bij te sturen als gemeente is om met geld over de balk te komen, en allerlei financiële prikkels in werking te stellen om meer leraren naar Amsterdam te laten komen. Dus bijvoorbeeld extra salaris of andere extra’s. Ik zie niet zo goed wat voor voordelen er zouden kunnen zijn voor de buurgemeenten, aangezien meer leraren aantrekken in Amsterdam zou betekenen dat er minder leraren zijn in de buurgemeenten. Tenzij je natuurlijk het totaal aantal leraren zou vergroten. Wellicht zijn daar ook wel mogelijkheden voor. Bijvoorbeeld een korting op het volgen van de Pabo, ook als je al in een ander beroep werkt. Zoiets?</a:t>
            </a:r>
          </a:p>
          <a:p>
            <a:pPr>
              <a:lnSpc>
                <a:spcPct val="100000"/>
              </a:lnSpc>
            </a:pPr>
            <a:endParaRPr lang="nl-NL" sz="1200" b="0" dirty="0"/>
          </a:p>
          <a:p>
            <a:pPr>
              <a:lnSpc>
                <a:spcPct val="100000"/>
              </a:lnSpc>
            </a:pPr>
            <a:r>
              <a:rPr lang="nl-NL" sz="1200" dirty="0"/>
              <a:t>Wat kan hier beter?</a:t>
            </a:r>
          </a:p>
          <a:p>
            <a:pPr marL="171450" indent="-171450">
              <a:lnSpc>
                <a:spcPct val="100000"/>
              </a:lnSpc>
              <a:buFont typeface="Wingdings" panose="05000000000000000000" pitchFamily="2" charset="2"/>
              <a:buChar char="§"/>
            </a:pPr>
            <a:r>
              <a:rPr lang="nl-NL" sz="1200" b="0" dirty="0"/>
              <a:t>Het antwoord is wat verhalend in plaats van gestructureerd</a:t>
            </a:r>
          </a:p>
          <a:p>
            <a:pPr marL="171450" indent="-171450">
              <a:lnSpc>
                <a:spcPct val="100000"/>
              </a:lnSpc>
              <a:buFont typeface="Wingdings" panose="05000000000000000000" pitchFamily="2" charset="2"/>
              <a:buChar char="§"/>
            </a:pPr>
            <a:r>
              <a:rPr lang="nl-NL" sz="1200" b="0" dirty="0"/>
              <a:t>Het lijkt alsof er eerst gesproken wordt, voordat er over het antwoord wordt nagedacht</a:t>
            </a:r>
          </a:p>
          <a:p>
            <a:endParaRPr lang="nl-NL" sz="1200" b="0" dirty="0"/>
          </a:p>
        </p:txBody>
      </p:sp>
      <p:sp>
        <p:nvSpPr>
          <p:cNvPr id="8" name="Text Placeholder 5">
            <a:extLst>
              <a:ext uri="{FF2B5EF4-FFF2-40B4-BE49-F238E27FC236}">
                <a16:creationId xmlns:a16="http://schemas.microsoft.com/office/drawing/2014/main" id="{590D4113-C0B4-44C6-867B-45E0549FB90F}"/>
              </a:ext>
            </a:extLst>
          </p:cNvPr>
          <p:cNvSpPr txBox="1">
            <a:spLocks/>
          </p:cNvSpPr>
          <p:nvPr/>
        </p:nvSpPr>
        <p:spPr>
          <a:xfrm>
            <a:off x="2952749" y="545413"/>
            <a:ext cx="8577451" cy="3053212"/>
          </a:xfrm>
          <a:prstGeom prst="rect">
            <a:avLst/>
          </a:prstGeom>
          <a:solidFill>
            <a:schemeClr val="bg1">
              <a:lumMod val="95000"/>
            </a:schemeClr>
          </a:solidFill>
          <a:ln>
            <a:solidFill>
              <a:srgbClr val="22777B"/>
            </a:solidFill>
          </a:ln>
        </p:spPr>
        <p:txBody>
          <a:bodyPr vert="horz" lIns="72000" tIns="72000" rIns="72000" bIns="72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nSpc>
                <a:spcPct val="100000"/>
              </a:lnSpc>
              <a:spcBef>
                <a:spcPts val="200"/>
              </a:spcBef>
            </a:pPr>
            <a:r>
              <a:rPr lang="nl-NL" sz="1200" dirty="0"/>
              <a:t>Excellent antwoord</a:t>
            </a:r>
            <a:br>
              <a:rPr lang="nl-NL" sz="1200" dirty="0"/>
            </a:br>
            <a:r>
              <a:rPr lang="nl-NL" sz="1200" b="0" dirty="0"/>
              <a:t>Voor de buurgemeenten zou het vervelend zijn als gemeente Amsterdam er voor zorgt dat er minder leraren naar die gemeente verhuizen of als zelfs leraren uit die gemeente naar Amsterdam toe trekken. Voorbeelden van zulke maatregelen zijn:</a:t>
            </a:r>
          </a:p>
          <a:p>
            <a:pPr marL="171450" indent="-171450">
              <a:lnSpc>
                <a:spcPct val="100000"/>
              </a:lnSpc>
              <a:spcBef>
                <a:spcPts val="200"/>
              </a:spcBef>
              <a:buFont typeface="Wingdings" panose="05000000000000000000" pitchFamily="2" charset="2"/>
              <a:buChar char="§"/>
            </a:pPr>
            <a:r>
              <a:rPr lang="nl-NL" sz="1200" b="0" dirty="0"/>
              <a:t>Een extra bonus voor Amsterdamse leraren</a:t>
            </a:r>
          </a:p>
          <a:p>
            <a:pPr marL="171450" indent="-171450">
              <a:lnSpc>
                <a:spcPct val="100000"/>
              </a:lnSpc>
              <a:spcBef>
                <a:spcPts val="200"/>
              </a:spcBef>
              <a:buFont typeface="Wingdings" panose="05000000000000000000" pitchFamily="2" charset="2"/>
              <a:buChar char="§"/>
            </a:pPr>
            <a:r>
              <a:rPr lang="nl-NL" sz="1200" b="0" dirty="0"/>
              <a:t>Extra trainingsmogelijkheden of andere secundaire arbeidsvoorwaarde voor Amsterdamse leraren</a:t>
            </a:r>
          </a:p>
          <a:p>
            <a:pPr marL="171450" indent="-171450">
              <a:lnSpc>
                <a:spcPct val="100000"/>
              </a:lnSpc>
              <a:spcBef>
                <a:spcPts val="200"/>
              </a:spcBef>
              <a:buFont typeface="Wingdings" panose="05000000000000000000" pitchFamily="2" charset="2"/>
              <a:buChar char="§"/>
            </a:pPr>
            <a:r>
              <a:rPr lang="nl-NL" sz="1200" b="0" dirty="0"/>
              <a:t>Een vergoeding voor de reistijd naar Amsterdam</a:t>
            </a:r>
          </a:p>
          <a:p>
            <a:pPr marL="171450" indent="-171450">
              <a:lnSpc>
                <a:spcPct val="100000"/>
              </a:lnSpc>
              <a:spcBef>
                <a:spcPts val="200"/>
              </a:spcBef>
              <a:buFont typeface="Wingdings" panose="05000000000000000000" pitchFamily="2" charset="2"/>
              <a:buChar char="§"/>
            </a:pPr>
            <a:r>
              <a:rPr lang="nl-NL" sz="1200" b="0" dirty="0"/>
              <a:t>Voorrang geven bij het toewijzen van een woning, zodat het eenvoudiger wordt voor leraren om in Amsterdam te komen wonen</a:t>
            </a:r>
          </a:p>
          <a:p>
            <a:pPr>
              <a:lnSpc>
                <a:spcPct val="100000"/>
              </a:lnSpc>
              <a:spcBef>
                <a:spcPts val="200"/>
              </a:spcBef>
            </a:pPr>
            <a:r>
              <a:rPr lang="nl-NL" sz="1200" b="0" dirty="0"/>
              <a:t>Buurgemeenten zullen dankbaar zijn indien zij ook voordeel ervaren vanuit de oplossingen van Amsterdam, bijvoorbeeld doordat er in totaal meer mensen leraar worden of blijven.</a:t>
            </a:r>
          </a:p>
          <a:p>
            <a:pPr marL="171450" indent="-171450">
              <a:lnSpc>
                <a:spcPct val="100000"/>
              </a:lnSpc>
              <a:spcBef>
                <a:spcPts val="200"/>
              </a:spcBef>
              <a:buFont typeface="Wingdings" panose="05000000000000000000" pitchFamily="2" charset="2"/>
              <a:buChar char="§"/>
            </a:pPr>
            <a:r>
              <a:rPr lang="nl-NL" sz="1200" b="0" dirty="0"/>
              <a:t>Een (lokale) campagne om het imago van het leraarschap te verbeteren</a:t>
            </a:r>
          </a:p>
          <a:p>
            <a:pPr marL="171450" indent="-171450">
              <a:lnSpc>
                <a:spcPct val="100000"/>
              </a:lnSpc>
              <a:spcBef>
                <a:spcPts val="200"/>
              </a:spcBef>
              <a:buFont typeface="Wingdings" panose="05000000000000000000" pitchFamily="2" charset="2"/>
              <a:buChar char="§"/>
            </a:pPr>
            <a:r>
              <a:rPr lang="nl-NL" sz="1200" b="0" dirty="0"/>
              <a:t>Online platform voor toekomstige leraren om informatie over het beroep beter toegankelijk te maken</a:t>
            </a:r>
          </a:p>
          <a:p>
            <a:pPr marL="171450" indent="-171450">
              <a:lnSpc>
                <a:spcPct val="100000"/>
              </a:lnSpc>
              <a:spcBef>
                <a:spcPts val="200"/>
              </a:spcBef>
              <a:buFont typeface="Wingdings" panose="05000000000000000000" pitchFamily="2" charset="2"/>
              <a:buChar char="§"/>
            </a:pPr>
            <a:r>
              <a:rPr lang="nl-NL" sz="1200" b="0" dirty="0"/>
              <a:t>Subsidies voor zij-instromers in Amsterdam, zodat meer mensen vanuit andere beroepen alsnog de lerarenopleiding gaan doen.</a:t>
            </a:r>
          </a:p>
          <a:p>
            <a:pPr>
              <a:spcBef>
                <a:spcPts val="200"/>
              </a:spcBef>
            </a:pPr>
            <a:endParaRPr lang="nl-NL" sz="1200" b="0" dirty="0"/>
          </a:p>
          <a:p>
            <a:pPr marL="171450" indent="-171450">
              <a:buFont typeface="Wingdings" panose="05000000000000000000" pitchFamily="2" charset="2"/>
              <a:buChar char="§"/>
            </a:pPr>
            <a:endParaRPr lang="nl-NL" sz="1200" b="0" dirty="0"/>
          </a:p>
          <a:p>
            <a:endPar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endParaRPr lang="nl-NL" sz="1200" b="0" dirty="0"/>
          </a:p>
          <a:p>
            <a:endParaRPr lang="nl-NL" sz="1200" b="0" dirty="0"/>
          </a:p>
        </p:txBody>
      </p:sp>
      <p:sp>
        <p:nvSpPr>
          <p:cNvPr id="15" name="Text Placeholder 5">
            <a:extLst>
              <a:ext uri="{FF2B5EF4-FFF2-40B4-BE49-F238E27FC236}">
                <a16:creationId xmlns:a16="http://schemas.microsoft.com/office/drawing/2014/main" id="{D810EC08-28BB-4468-B85E-E1A870DBD8DF}"/>
              </a:ext>
            </a:extLst>
          </p:cNvPr>
          <p:cNvSpPr txBox="1">
            <a:spLocks/>
          </p:cNvSpPr>
          <p:nvPr/>
        </p:nvSpPr>
        <p:spPr>
          <a:xfrm>
            <a:off x="2952749" y="3673659"/>
            <a:ext cx="3078595" cy="2635066"/>
          </a:xfrm>
          <a:prstGeom prst="rect">
            <a:avLst/>
          </a:prstGeom>
          <a:solidFill>
            <a:schemeClr val="bg1"/>
          </a:solidFill>
          <a:ln>
            <a:solidFill>
              <a:schemeClr val="bg1">
                <a:lumMod val="85000"/>
              </a:schemeClr>
            </a:solidFill>
          </a:ln>
        </p:spPr>
        <p:txBody>
          <a:bodyPr vert="horz" lIns="54000" tIns="72000" rIns="54000" bIns="72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nSpc>
                <a:spcPct val="100000"/>
              </a:lnSpc>
            </a:pPr>
            <a:r>
              <a:rPr lang="nl-NL" sz="1200" dirty="0"/>
              <a:t>Wat maakt dit antwoord goed?</a:t>
            </a:r>
          </a:p>
          <a:p>
            <a:pPr marL="171450" indent="-171450">
              <a:lnSpc>
                <a:spcPct val="100000"/>
              </a:lnSpc>
              <a:buClr>
                <a:schemeClr val="tx2"/>
              </a:buClr>
              <a:buFont typeface="Wingdings" panose="05000000000000000000" pitchFamily="2" charset="2"/>
              <a:buChar char="ü"/>
            </a:pPr>
            <a:r>
              <a:rPr lang="nl-NL" sz="1200" b="0" dirty="0"/>
              <a:t>Op beide vragen wordt een divers palet aan ideeën voorgelegd. </a:t>
            </a:r>
          </a:p>
          <a:p>
            <a:pPr marL="171450" indent="-171450">
              <a:lnSpc>
                <a:spcPct val="100000"/>
              </a:lnSpc>
              <a:buClr>
                <a:schemeClr val="tx2"/>
              </a:buClr>
              <a:buFont typeface="Wingdings" panose="05000000000000000000" pitchFamily="2" charset="2"/>
              <a:buChar char="ü"/>
            </a:pPr>
            <a:r>
              <a:rPr lang="nl-NL" sz="1200" b="0" dirty="0"/>
              <a:t>Voordat de antwoorden worden geïntroduceerd wordt een korte redenatielijn uitgelegd</a:t>
            </a:r>
          </a:p>
          <a:p>
            <a:pPr marL="171450" indent="-171450">
              <a:buClr>
                <a:schemeClr val="tx2"/>
              </a:buClr>
              <a:buFont typeface="Wingdings" panose="05000000000000000000" pitchFamily="2" charset="2"/>
              <a:buChar char="ü"/>
            </a:pPr>
            <a:endParaRPr lang="nl-NL" sz="1200" b="0" dirty="0"/>
          </a:p>
          <a:p>
            <a:pPr marL="171450" indent="-171450">
              <a:buClr>
                <a:schemeClr val="tx2"/>
              </a:buClr>
              <a:buFont typeface="Wingdings" panose="05000000000000000000" pitchFamily="2" charset="2"/>
              <a:buChar char="§"/>
            </a:pPr>
            <a:endParaRPr lang="nl-NL" sz="1200" b="0" dirty="0"/>
          </a:p>
          <a:p>
            <a:pPr>
              <a:buClr>
                <a:schemeClr val="tx2"/>
              </a:buClr>
            </a:pPr>
            <a:endParaRPr lang="nl-NL" sz="1200" b="0" dirty="0"/>
          </a:p>
          <a:p>
            <a:pPr>
              <a:buClr>
                <a:schemeClr val="tx2"/>
              </a:buClr>
            </a:pPr>
            <a:endParaRPr lang="nl-NL" sz="1200" b="0" dirty="0"/>
          </a:p>
        </p:txBody>
      </p:sp>
      <p:pic>
        <p:nvPicPr>
          <p:cNvPr id="61442" name="Picture 2">
            <a:extLst>
              <a:ext uri="{FF2B5EF4-FFF2-40B4-BE49-F238E27FC236}">
                <a16:creationId xmlns:a16="http://schemas.microsoft.com/office/drawing/2014/main" id="{F31421FC-687C-4775-BBCA-9AC90E0C78E6}"/>
              </a:ext>
            </a:extLst>
          </p:cNvPr>
          <p:cNvPicPr>
            <a:picLocks noChangeAspect="1" noChangeArrowheads="1"/>
          </p:cNvPicPr>
          <p:nvPr/>
        </p:nvPicPr>
        <p:blipFill>
          <a:blip r:embed="rId6" cstate="hqprint">
            <a:extLst>
              <a:ext uri="{28A0092B-C50C-407E-A947-70E740481C1C}">
                <a14:useLocalDpi xmlns:a14="http://schemas.microsoft.com/office/drawing/2010/main"/>
              </a:ext>
            </a:extLst>
          </a:blip>
          <a:srcRect l="38477" r="38477"/>
          <a:stretch/>
        </p:blipFill>
        <p:spPr bwMode="auto">
          <a:xfrm>
            <a:off x="0" y="0"/>
            <a:ext cx="28098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D85439E5-6E0C-4BFB-9E2A-FA280E638BDE}"/>
              </a:ext>
            </a:extLst>
          </p:cNvPr>
          <p:cNvSpPr/>
          <p:nvPr/>
        </p:nvSpPr>
        <p:spPr>
          <a:xfrm>
            <a:off x="0" y="-8800"/>
            <a:ext cx="2809876" cy="6866800"/>
          </a:xfrm>
          <a:prstGeom prst="rect">
            <a:avLst/>
          </a:prstGeom>
          <a:solidFill>
            <a:schemeClr val="bg1">
              <a:lumMod val="95000"/>
              <a:alpha val="84000"/>
            </a:schemeClr>
          </a:solidFill>
          <a:ln>
            <a:noFill/>
          </a:ln>
        </p:spPr>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0" indent="0">
              <a:lnSpc>
                <a:spcPct val="100000"/>
              </a:lnSpc>
              <a:buNone/>
            </a:pPr>
            <a:r>
              <a:rPr lang="nl-NL" sz="2800" b="1" dirty="0">
                <a:solidFill>
                  <a:srgbClr val="22777B"/>
                </a:solidFill>
              </a:rPr>
              <a:t>Vraag 4</a:t>
            </a:r>
          </a:p>
          <a:p>
            <a:pPr marL="0" indent="0">
              <a:lnSpc>
                <a:spcPct val="100000"/>
              </a:lnSpc>
              <a:buNone/>
            </a:pPr>
            <a:br>
              <a:rPr lang="nl-NL" sz="1400" dirty="0"/>
            </a:br>
            <a:br>
              <a:rPr lang="nl-NL" sz="1200" dirty="0"/>
            </a:br>
            <a:r>
              <a:rPr lang="nl-NL" sz="1200" dirty="0"/>
              <a:t>Dank voor je antwoord, we hebben mu een beter beeld van de dynamiek. We gaan voor nu niet in op de verdeling van het lerarentekort binnen Amsterdam.</a:t>
            </a:r>
          </a:p>
          <a:p>
            <a:pPr marL="0" indent="0">
              <a:lnSpc>
                <a:spcPct val="100000"/>
              </a:lnSpc>
              <a:buNone/>
            </a:pPr>
            <a:r>
              <a:rPr lang="nl-NL" sz="1200" dirty="0"/>
              <a:t>Er bestaan natuurlijk veel maatregelen om het lerarentekort aan te pakken, die niet alleen Amsterdam raken maar ook impact hebben op omringende gemeenten. Met welke maatregelen denk je dat onze buurgemeenten het minst blij zijn? En bij welke maatregelen denk je dat onze buurgemeenten ons dankbaar zijn?</a:t>
            </a:r>
          </a:p>
          <a:p>
            <a:pPr algn="ctr">
              <a:lnSpc>
                <a:spcPct val="100000"/>
              </a:lnSpc>
              <a:buClr>
                <a:schemeClr val="tx2"/>
              </a:buClr>
            </a:pPr>
            <a:endParaRPr kumimoji="0" lang="nl-NL" sz="1400" i="0" u="none" strike="noStrike" kern="1200" cap="none" spc="0" normalizeH="0" baseline="0" noProof="0" dirty="0">
              <a:ln>
                <a:noFill/>
              </a:ln>
              <a:effectLst/>
              <a:uLnTx/>
              <a:uFillTx/>
              <a:latin typeface="Corbel" panose="020B0503020204020204" pitchFamily="34" charset="0"/>
              <a:ea typeface="+mn-ea"/>
              <a:cs typeface="+mn-cs"/>
            </a:endParaRPr>
          </a:p>
        </p:txBody>
      </p:sp>
      <p:grpSp>
        <p:nvGrpSpPr>
          <p:cNvPr id="21" name="Group 20">
            <a:extLst>
              <a:ext uri="{FF2B5EF4-FFF2-40B4-BE49-F238E27FC236}">
                <a16:creationId xmlns:a16="http://schemas.microsoft.com/office/drawing/2014/main" id="{C5578B65-C922-42B5-B58E-017E05320628}"/>
              </a:ext>
            </a:extLst>
          </p:cNvPr>
          <p:cNvGrpSpPr/>
          <p:nvPr/>
        </p:nvGrpSpPr>
        <p:grpSpPr>
          <a:xfrm>
            <a:off x="1444733" y="241300"/>
            <a:ext cx="504420" cy="348414"/>
            <a:chOff x="2836863" y="3201988"/>
            <a:chExt cx="2001837" cy="1382712"/>
          </a:xfrm>
          <a:solidFill>
            <a:schemeClr val="tx2"/>
          </a:solidFill>
        </p:grpSpPr>
        <p:sp>
          <p:nvSpPr>
            <p:cNvPr id="22" name="Freeform 1">
              <a:extLst>
                <a:ext uri="{FF2B5EF4-FFF2-40B4-BE49-F238E27FC236}">
                  <a16:creationId xmlns:a16="http://schemas.microsoft.com/office/drawing/2014/main" id="{3B7896AF-670D-49F2-865F-D697DA861715}"/>
                </a:ext>
              </a:extLst>
            </p:cNvPr>
            <p:cNvSpPr>
              <a:spLocks noChangeArrowheads="1"/>
            </p:cNvSpPr>
            <p:nvPr/>
          </p:nvSpPr>
          <p:spPr bwMode="auto">
            <a:xfrm>
              <a:off x="2870200" y="3246438"/>
              <a:ext cx="1450975" cy="1247775"/>
            </a:xfrm>
            <a:custGeom>
              <a:avLst/>
              <a:gdLst>
                <a:gd name="T0" fmla="*/ 3625 w 4032"/>
                <a:gd name="T1" fmla="*/ 593 h 3468"/>
                <a:gd name="T2" fmla="*/ 3625 w 4032"/>
                <a:gd name="T3" fmla="*/ 593 h 3468"/>
                <a:gd name="T4" fmla="*/ 2000 w 4032"/>
                <a:gd name="T5" fmla="*/ 0 h 3468"/>
                <a:gd name="T6" fmla="*/ 593 w 4032"/>
                <a:gd name="T7" fmla="*/ 468 h 3468"/>
                <a:gd name="T8" fmla="*/ 593 w 4032"/>
                <a:gd name="T9" fmla="*/ 468 h 3468"/>
                <a:gd name="T10" fmla="*/ 31 w 4032"/>
                <a:gd name="T11" fmla="*/ 1531 h 3468"/>
                <a:gd name="T12" fmla="*/ 593 w 4032"/>
                <a:gd name="T13" fmla="*/ 2592 h 3468"/>
                <a:gd name="T14" fmla="*/ 500 w 4032"/>
                <a:gd name="T15" fmla="*/ 3374 h 3468"/>
                <a:gd name="T16" fmla="*/ 406 w 4032"/>
                <a:gd name="T17" fmla="*/ 3467 h 3468"/>
                <a:gd name="T18" fmla="*/ 531 w 4032"/>
                <a:gd name="T19" fmla="*/ 3467 h 3468"/>
                <a:gd name="T20" fmla="*/ 1343 w 4032"/>
                <a:gd name="T21" fmla="*/ 2967 h 3468"/>
                <a:gd name="T22" fmla="*/ 2093 w 4032"/>
                <a:gd name="T23" fmla="*/ 3030 h 3468"/>
                <a:gd name="T24" fmla="*/ 3531 w 4032"/>
                <a:gd name="T25" fmla="*/ 2592 h 3468"/>
                <a:gd name="T26" fmla="*/ 4031 w 4032"/>
                <a:gd name="T27" fmla="*/ 1531 h 3468"/>
                <a:gd name="T28" fmla="*/ 3625 w 4032"/>
                <a:gd name="T29" fmla="*/ 593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2" h="3468">
                  <a:moveTo>
                    <a:pt x="3625" y="593"/>
                  </a:moveTo>
                  <a:lnTo>
                    <a:pt x="3625" y="593"/>
                  </a:lnTo>
                  <a:cubicBezTo>
                    <a:pt x="3250" y="218"/>
                    <a:pt x="2625" y="0"/>
                    <a:pt x="2000" y="0"/>
                  </a:cubicBezTo>
                  <a:cubicBezTo>
                    <a:pt x="1468" y="0"/>
                    <a:pt x="1000" y="156"/>
                    <a:pt x="593" y="468"/>
                  </a:cubicBezTo>
                  <a:lnTo>
                    <a:pt x="593" y="468"/>
                  </a:lnTo>
                  <a:cubicBezTo>
                    <a:pt x="218" y="781"/>
                    <a:pt x="0" y="1156"/>
                    <a:pt x="31" y="1531"/>
                  </a:cubicBezTo>
                  <a:cubicBezTo>
                    <a:pt x="62" y="2217"/>
                    <a:pt x="500" y="2530"/>
                    <a:pt x="593" y="2592"/>
                  </a:cubicBezTo>
                  <a:cubicBezTo>
                    <a:pt x="625" y="2717"/>
                    <a:pt x="687" y="3092"/>
                    <a:pt x="500" y="3374"/>
                  </a:cubicBezTo>
                  <a:cubicBezTo>
                    <a:pt x="406" y="3467"/>
                    <a:pt x="406" y="3467"/>
                    <a:pt x="406" y="3467"/>
                  </a:cubicBezTo>
                  <a:cubicBezTo>
                    <a:pt x="531" y="3467"/>
                    <a:pt x="531" y="3467"/>
                    <a:pt x="531" y="3467"/>
                  </a:cubicBezTo>
                  <a:cubicBezTo>
                    <a:pt x="1000" y="3436"/>
                    <a:pt x="1281" y="3092"/>
                    <a:pt x="1343" y="2967"/>
                  </a:cubicBezTo>
                  <a:cubicBezTo>
                    <a:pt x="1437" y="2999"/>
                    <a:pt x="1718" y="3061"/>
                    <a:pt x="2093" y="3030"/>
                  </a:cubicBezTo>
                  <a:cubicBezTo>
                    <a:pt x="2656" y="3030"/>
                    <a:pt x="3156" y="2874"/>
                    <a:pt x="3531" y="2592"/>
                  </a:cubicBezTo>
                  <a:cubicBezTo>
                    <a:pt x="3843" y="2280"/>
                    <a:pt x="4031" y="1905"/>
                    <a:pt x="4031" y="1531"/>
                  </a:cubicBezTo>
                  <a:cubicBezTo>
                    <a:pt x="4031" y="1218"/>
                    <a:pt x="3906" y="906"/>
                    <a:pt x="3625" y="5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3" name="Freeform 2">
              <a:extLst>
                <a:ext uri="{FF2B5EF4-FFF2-40B4-BE49-F238E27FC236}">
                  <a16:creationId xmlns:a16="http://schemas.microsoft.com/office/drawing/2014/main" id="{CAD3F577-FAD4-4169-913E-31809A4FFBDC}"/>
                </a:ext>
              </a:extLst>
            </p:cNvPr>
            <p:cNvSpPr>
              <a:spLocks noChangeArrowheads="1"/>
            </p:cNvSpPr>
            <p:nvPr/>
          </p:nvSpPr>
          <p:spPr bwMode="auto">
            <a:xfrm>
              <a:off x="3983038" y="3201988"/>
              <a:ext cx="855662" cy="1338262"/>
            </a:xfrm>
            <a:custGeom>
              <a:avLst/>
              <a:gdLst>
                <a:gd name="T0" fmla="*/ 1781 w 2376"/>
                <a:gd name="T1" fmla="*/ 2811 h 3718"/>
                <a:gd name="T2" fmla="*/ 1781 w 2376"/>
                <a:gd name="T3" fmla="*/ 2811 h 3718"/>
                <a:gd name="T4" fmla="*/ 2375 w 2376"/>
                <a:gd name="T5" fmla="*/ 1687 h 3718"/>
                <a:gd name="T6" fmla="*/ 1750 w 2376"/>
                <a:gd name="T7" fmla="*/ 500 h 3718"/>
                <a:gd name="T8" fmla="*/ 282 w 2376"/>
                <a:gd name="T9" fmla="*/ 0 h 3718"/>
                <a:gd name="T10" fmla="*/ 0 w 2376"/>
                <a:gd name="T11" fmla="*/ 31 h 3718"/>
                <a:gd name="T12" fmla="*/ 782 w 2376"/>
                <a:gd name="T13" fmla="*/ 531 h 3718"/>
                <a:gd name="T14" fmla="*/ 1250 w 2376"/>
                <a:gd name="T15" fmla="*/ 1656 h 3718"/>
                <a:gd name="T16" fmla="*/ 625 w 2376"/>
                <a:gd name="T17" fmla="*/ 2905 h 3718"/>
                <a:gd name="T18" fmla="*/ 0 w 2376"/>
                <a:gd name="T19" fmla="*/ 3280 h 3718"/>
                <a:gd name="T20" fmla="*/ 875 w 2376"/>
                <a:gd name="T21" fmla="*/ 3249 h 3718"/>
                <a:gd name="T22" fmla="*/ 1938 w 2376"/>
                <a:gd name="T23" fmla="*/ 3717 h 3718"/>
                <a:gd name="T24" fmla="*/ 2219 w 2376"/>
                <a:gd name="T25" fmla="*/ 3717 h 3718"/>
                <a:gd name="T26" fmla="*/ 2032 w 2376"/>
                <a:gd name="T27" fmla="*/ 3530 h 3718"/>
                <a:gd name="T28" fmla="*/ 1781 w 2376"/>
                <a:gd name="T29" fmla="*/ 2811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6" h="3718">
                  <a:moveTo>
                    <a:pt x="1781" y="2811"/>
                  </a:moveTo>
                  <a:lnTo>
                    <a:pt x="1781" y="2811"/>
                  </a:lnTo>
                  <a:cubicBezTo>
                    <a:pt x="2157" y="2499"/>
                    <a:pt x="2375" y="2092"/>
                    <a:pt x="2375" y="1687"/>
                  </a:cubicBezTo>
                  <a:cubicBezTo>
                    <a:pt x="2375" y="1218"/>
                    <a:pt x="2188" y="812"/>
                    <a:pt x="1750" y="500"/>
                  </a:cubicBezTo>
                  <a:cubicBezTo>
                    <a:pt x="1344" y="187"/>
                    <a:pt x="844" y="0"/>
                    <a:pt x="282" y="0"/>
                  </a:cubicBezTo>
                  <a:cubicBezTo>
                    <a:pt x="188" y="0"/>
                    <a:pt x="94" y="0"/>
                    <a:pt x="0" y="31"/>
                  </a:cubicBezTo>
                  <a:cubicBezTo>
                    <a:pt x="282" y="125"/>
                    <a:pt x="563" y="312"/>
                    <a:pt x="782" y="531"/>
                  </a:cubicBezTo>
                  <a:cubicBezTo>
                    <a:pt x="1094" y="843"/>
                    <a:pt x="1250" y="1218"/>
                    <a:pt x="1250" y="1656"/>
                  </a:cubicBezTo>
                  <a:cubicBezTo>
                    <a:pt x="1250" y="2124"/>
                    <a:pt x="1032" y="2592"/>
                    <a:pt x="625" y="2905"/>
                  </a:cubicBezTo>
                  <a:cubicBezTo>
                    <a:pt x="438" y="3061"/>
                    <a:pt x="219" y="3186"/>
                    <a:pt x="0" y="3280"/>
                  </a:cubicBezTo>
                  <a:cubicBezTo>
                    <a:pt x="282" y="3311"/>
                    <a:pt x="563" y="3280"/>
                    <a:pt x="875" y="3249"/>
                  </a:cubicBezTo>
                  <a:cubicBezTo>
                    <a:pt x="1125" y="3561"/>
                    <a:pt x="1469" y="3717"/>
                    <a:pt x="1938" y="3717"/>
                  </a:cubicBezTo>
                  <a:cubicBezTo>
                    <a:pt x="2219" y="3717"/>
                    <a:pt x="2219" y="3717"/>
                    <a:pt x="2219" y="3717"/>
                  </a:cubicBezTo>
                  <a:cubicBezTo>
                    <a:pt x="2032" y="3530"/>
                    <a:pt x="2032" y="3530"/>
                    <a:pt x="2032" y="3530"/>
                  </a:cubicBezTo>
                  <a:cubicBezTo>
                    <a:pt x="1813" y="3311"/>
                    <a:pt x="1750" y="3092"/>
                    <a:pt x="1781" y="28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4" name="Freeform 3">
              <a:extLst>
                <a:ext uri="{FF2B5EF4-FFF2-40B4-BE49-F238E27FC236}">
                  <a16:creationId xmlns:a16="http://schemas.microsoft.com/office/drawing/2014/main" id="{8EDCAE06-9FA2-4B47-B181-6930B4A19E56}"/>
                </a:ext>
              </a:extLst>
            </p:cNvPr>
            <p:cNvSpPr>
              <a:spLocks noChangeArrowheads="1"/>
            </p:cNvSpPr>
            <p:nvPr/>
          </p:nvSpPr>
          <p:spPr bwMode="auto">
            <a:xfrm>
              <a:off x="2836863" y="3201988"/>
              <a:ext cx="1530350" cy="1382712"/>
            </a:xfrm>
            <a:custGeom>
              <a:avLst/>
              <a:gdLst>
                <a:gd name="T0" fmla="*/ 219 w 4251"/>
                <a:gd name="T1" fmla="*/ 3717 h 3843"/>
                <a:gd name="T2" fmla="*/ 219 w 4251"/>
                <a:gd name="T3" fmla="*/ 3717 h 3843"/>
                <a:gd name="T4" fmla="*/ 594 w 4251"/>
                <a:gd name="T5" fmla="*/ 2811 h 3843"/>
                <a:gd name="T6" fmla="*/ 0 w 4251"/>
                <a:gd name="T7" fmla="*/ 1656 h 3843"/>
                <a:gd name="T8" fmla="*/ 625 w 4251"/>
                <a:gd name="T9" fmla="*/ 500 h 3843"/>
                <a:gd name="T10" fmla="*/ 2094 w 4251"/>
                <a:gd name="T11" fmla="*/ 0 h 3843"/>
                <a:gd name="T12" fmla="*/ 2094 w 4251"/>
                <a:gd name="T13" fmla="*/ 0 h 3843"/>
                <a:gd name="T14" fmla="*/ 3781 w 4251"/>
                <a:gd name="T15" fmla="*/ 625 h 3843"/>
                <a:gd name="T16" fmla="*/ 4250 w 4251"/>
                <a:gd name="T17" fmla="*/ 1656 h 3843"/>
                <a:gd name="T18" fmla="*/ 3656 w 4251"/>
                <a:gd name="T19" fmla="*/ 2780 h 3843"/>
                <a:gd name="T20" fmla="*/ 1469 w 4251"/>
                <a:gd name="T21" fmla="*/ 3217 h 3843"/>
                <a:gd name="T22" fmla="*/ 219 w 4251"/>
                <a:gd name="T23" fmla="*/ 3717 h 3843"/>
                <a:gd name="T24" fmla="*/ 719 w 4251"/>
                <a:gd name="T25" fmla="*/ 625 h 3843"/>
                <a:gd name="T26" fmla="*/ 719 w 4251"/>
                <a:gd name="T27" fmla="*/ 625 h 3843"/>
                <a:gd name="T28" fmla="*/ 187 w 4251"/>
                <a:gd name="T29" fmla="*/ 1656 h 3843"/>
                <a:gd name="T30" fmla="*/ 750 w 4251"/>
                <a:gd name="T31" fmla="*/ 2686 h 3843"/>
                <a:gd name="T32" fmla="*/ 625 w 4251"/>
                <a:gd name="T33" fmla="*/ 3530 h 3843"/>
                <a:gd name="T34" fmla="*/ 1406 w 4251"/>
                <a:gd name="T35" fmla="*/ 3030 h 3843"/>
                <a:gd name="T36" fmla="*/ 3562 w 4251"/>
                <a:gd name="T37" fmla="*/ 2655 h 3843"/>
                <a:gd name="T38" fmla="*/ 4062 w 4251"/>
                <a:gd name="T39" fmla="*/ 1656 h 3843"/>
                <a:gd name="T40" fmla="*/ 3656 w 4251"/>
                <a:gd name="T41" fmla="*/ 750 h 3843"/>
                <a:gd name="T42" fmla="*/ 2094 w 4251"/>
                <a:gd name="T43" fmla="*/ 187 h 3843"/>
                <a:gd name="T44" fmla="*/ 719 w 4251"/>
                <a:gd name="T45" fmla="*/ 625 h 3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51" h="3843">
                  <a:moveTo>
                    <a:pt x="219" y="3717"/>
                  </a:moveTo>
                  <a:lnTo>
                    <a:pt x="219" y="3717"/>
                  </a:lnTo>
                  <a:cubicBezTo>
                    <a:pt x="219" y="3717"/>
                    <a:pt x="656" y="3342"/>
                    <a:pt x="594" y="2811"/>
                  </a:cubicBezTo>
                  <a:cubicBezTo>
                    <a:pt x="219" y="2499"/>
                    <a:pt x="0" y="2092"/>
                    <a:pt x="0" y="1656"/>
                  </a:cubicBezTo>
                  <a:cubicBezTo>
                    <a:pt x="0" y="1218"/>
                    <a:pt x="219" y="812"/>
                    <a:pt x="625" y="500"/>
                  </a:cubicBezTo>
                  <a:cubicBezTo>
                    <a:pt x="1031" y="187"/>
                    <a:pt x="1531" y="0"/>
                    <a:pt x="2094" y="0"/>
                  </a:cubicBezTo>
                  <a:lnTo>
                    <a:pt x="2094" y="0"/>
                  </a:lnTo>
                  <a:cubicBezTo>
                    <a:pt x="2781" y="0"/>
                    <a:pt x="3375" y="218"/>
                    <a:pt x="3781" y="625"/>
                  </a:cubicBezTo>
                  <a:cubicBezTo>
                    <a:pt x="4094" y="937"/>
                    <a:pt x="4250" y="1281"/>
                    <a:pt x="4250" y="1656"/>
                  </a:cubicBezTo>
                  <a:cubicBezTo>
                    <a:pt x="4250" y="2092"/>
                    <a:pt x="4031" y="2499"/>
                    <a:pt x="3656" y="2780"/>
                  </a:cubicBezTo>
                  <a:cubicBezTo>
                    <a:pt x="3125" y="3217"/>
                    <a:pt x="2344" y="3374"/>
                    <a:pt x="1469" y="3217"/>
                  </a:cubicBezTo>
                  <a:cubicBezTo>
                    <a:pt x="1125" y="3842"/>
                    <a:pt x="219" y="3717"/>
                    <a:pt x="219" y="3717"/>
                  </a:cubicBezTo>
                  <a:close/>
                  <a:moveTo>
                    <a:pt x="719" y="625"/>
                  </a:moveTo>
                  <a:lnTo>
                    <a:pt x="719" y="625"/>
                  </a:lnTo>
                  <a:cubicBezTo>
                    <a:pt x="375" y="906"/>
                    <a:pt x="156" y="1281"/>
                    <a:pt x="187" y="1656"/>
                  </a:cubicBezTo>
                  <a:cubicBezTo>
                    <a:pt x="219" y="2374"/>
                    <a:pt x="750" y="2686"/>
                    <a:pt x="750" y="2686"/>
                  </a:cubicBezTo>
                  <a:cubicBezTo>
                    <a:pt x="750" y="2686"/>
                    <a:pt x="875" y="3186"/>
                    <a:pt x="625" y="3530"/>
                  </a:cubicBezTo>
                  <a:cubicBezTo>
                    <a:pt x="1125" y="3499"/>
                    <a:pt x="1406" y="3030"/>
                    <a:pt x="1406" y="3030"/>
                  </a:cubicBezTo>
                  <a:cubicBezTo>
                    <a:pt x="1406" y="3030"/>
                    <a:pt x="2719" y="3342"/>
                    <a:pt x="3562" y="2655"/>
                  </a:cubicBezTo>
                  <a:cubicBezTo>
                    <a:pt x="3875" y="2374"/>
                    <a:pt x="4062" y="2030"/>
                    <a:pt x="4062" y="1656"/>
                  </a:cubicBezTo>
                  <a:cubicBezTo>
                    <a:pt x="4062" y="1312"/>
                    <a:pt x="3906" y="1031"/>
                    <a:pt x="3656" y="750"/>
                  </a:cubicBezTo>
                  <a:cubicBezTo>
                    <a:pt x="3281" y="375"/>
                    <a:pt x="2656" y="187"/>
                    <a:pt x="2094" y="187"/>
                  </a:cubicBezTo>
                  <a:cubicBezTo>
                    <a:pt x="1562" y="187"/>
                    <a:pt x="1094" y="343"/>
                    <a:pt x="719" y="62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17" name="Oval 16">
            <a:extLst>
              <a:ext uri="{FF2B5EF4-FFF2-40B4-BE49-F238E27FC236}">
                <a16:creationId xmlns:a16="http://schemas.microsoft.com/office/drawing/2014/main" id="{81CF0B15-F031-4AF7-B652-ABA92EA1C214}"/>
              </a:ext>
            </a:extLst>
          </p:cNvPr>
          <p:cNvSpPr/>
          <p:nvPr/>
        </p:nvSpPr>
        <p:spPr>
          <a:xfrm>
            <a:off x="10629559" y="36609"/>
            <a:ext cx="148708" cy="148708"/>
          </a:xfrm>
          <a:prstGeom prst="ellipse">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95C5C9"/>
              </a:solidFill>
              <a:effectLst/>
              <a:uLnTx/>
              <a:uFillTx/>
              <a:latin typeface="Corbel" panose="020B0503020204020204" pitchFamily="34" charset="0"/>
              <a:ea typeface="+mn-ea"/>
              <a:cs typeface="+mn-cs"/>
            </a:endParaRPr>
          </a:p>
        </p:txBody>
      </p:sp>
      <p:sp>
        <p:nvSpPr>
          <p:cNvPr id="18" name="TextBox 17">
            <a:extLst>
              <a:ext uri="{FF2B5EF4-FFF2-40B4-BE49-F238E27FC236}">
                <a16:creationId xmlns:a16="http://schemas.microsoft.com/office/drawing/2014/main" id="{54333A3E-F8F9-48B0-AA3F-8FF795166FC8}"/>
              </a:ext>
            </a:extLst>
          </p:cNvPr>
          <p:cNvSpPr txBox="1"/>
          <p:nvPr/>
        </p:nvSpPr>
        <p:spPr>
          <a:xfrm>
            <a:off x="10067055"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1</a:t>
            </a:r>
            <a:endParaRPr lang="nl-NL" noProof="0" dirty="0">
              <a:solidFill>
                <a:srgbClr val="95C5C9"/>
              </a:solidFill>
            </a:endParaRPr>
          </a:p>
        </p:txBody>
      </p:sp>
      <p:sp>
        <p:nvSpPr>
          <p:cNvPr id="19" name="TextBox 18">
            <a:extLst>
              <a:ext uri="{FF2B5EF4-FFF2-40B4-BE49-F238E27FC236}">
                <a16:creationId xmlns:a16="http://schemas.microsoft.com/office/drawing/2014/main" id="{F11BAC19-BDC6-4E18-91B2-ACB72F19CEBF}"/>
              </a:ext>
            </a:extLst>
          </p:cNvPr>
          <p:cNvSpPr txBox="1"/>
          <p:nvPr/>
        </p:nvSpPr>
        <p:spPr>
          <a:xfrm>
            <a:off x="10256482"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2</a:t>
            </a:r>
          </a:p>
        </p:txBody>
      </p:sp>
      <p:sp>
        <p:nvSpPr>
          <p:cNvPr id="20" name="TextBox 19">
            <a:extLst>
              <a:ext uri="{FF2B5EF4-FFF2-40B4-BE49-F238E27FC236}">
                <a16:creationId xmlns:a16="http://schemas.microsoft.com/office/drawing/2014/main" id="{BB2F4E2A-8086-4D51-9AA8-7AC4ECAAF631}"/>
              </a:ext>
            </a:extLst>
          </p:cNvPr>
          <p:cNvSpPr txBox="1"/>
          <p:nvPr/>
        </p:nvSpPr>
        <p:spPr>
          <a:xfrm>
            <a:off x="10445909"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3</a:t>
            </a:r>
          </a:p>
        </p:txBody>
      </p:sp>
      <p:sp>
        <p:nvSpPr>
          <p:cNvPr id="25" name="TextBox 24">
            <a:extLst>
              <a:ext uri="{FF2B5EF4-FFF2-40B4-BE49-F238E27FC236}">
                <a16:creationId xmlns:a16="http://schemas.microsoft.com/office/drawing/2014/main" id="{ADD710EE-0F34-4A87-8A36-0E242C9E6556}"/>
              </a:ext>
            </a:extLst>
          </p:cNvPr>
          <p:cNvSpPr txBox="1"/>
          <p:nvPr/>
        </p:nvSpPr>
        <p:spPr>
          <a:xfrm>
            <a:off x="10635336" y="40328"/>
            <a:ext cx="137154" cy="141270"/>
          </a:xfrm>
          <a:prstGeom prst="rect">
            <a:avLst/>
          </a:prstGeom>
        </p:spPr>
        <p:txBody>
          <a:bodyPr vert="horz" wrap="square" lIns="0" tIns="0" rIns="0" bIns="0" rtlCol="0" anchor="ctr">
            <a:noAutofit/>
          </a:bodyPr>
          <a:lstStyle/>
          <a:p>
            <a:pPr marL="0" indent="0" algn="ctr">
              <a:buNone/>
            </a:pPr>
            <a:r>
              <a:rPr lang="nl-NL" sz="1000" b="1" dirty="0">
                <a:solidFill>
                  <a:srgbClr val="95C5C9"/>
                </a:solidFill>
              </a:rPr>
              <a:t>4</a:t>
            </a:r>
            <a:endParaRPr lang="nl-NL" b="1" noProof="0" dirty="0">
              <a:solidFill>
                <a:srgbClr val="95C5C9"/>
              </a:solidFill>
            </a:endParaRPr>
          </a:p>
        </p:txBody>
      </p:sp>
      <p:sp>
        <p:nvSpPr>
          <p:cNvPr id="26" name="TextBox 25">
            <a:extLst>
              <a:ext uri="{FF2B5EF4-FFF2-40B4-BE49-F238E27FC236}">
                <a16:creationId xmlns:a16="http://schemas.microsoft.com/office/drawing/2014/main" id="{792CF7E5-8998-4A1D-8510-1A9E889D6396}"/>
              </a:ext>
            </a:extLst>
          </p:cNvPr>
          <p:cNvSpPr txBox="1"/>
          <p:nvPr/>
        </p:nvSpPr>
        <p:spPr>
          <a:xfrm>
            <a:off x="10824763"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5</a:t>
            </a:r>
            <a:endParaRPr lang="nl-NL" sz="1000" noProof="0" dirty="0">
              <a:solidFill>
                <a:srgbClr val="95C5C9"/>
              </a:solidFill>
            </a:endParaRPr>
          </a:p>
        </p:txBody>
      </p:sp>
      <p:sp>
        <p:nvSpPr>
          <p:cNvPr id="27" name="TextBox 26">
            <a:extLst>
              <a:ext uri="{FF2B5EF4-FFF2-40B4-BE49-F238E27FC236}">
                <a16:creationId xmlns:a16="http://schemas.microsoft.com/office/drawing/2014/main" id="{E40D0D37-126A-46F7-AC8C-5DCE0F803697}"/>
              </a:ext>
            </a:extLst>
          </p:cNvPr>
          <p:cNvSpPr txBox="1"/>
          <p:nvPr/>
        </p:nvSpPr>
        <p:spPr>
          <a:xfrm>
            <a:off x="11014190"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6</a:t>
            </a:r>
          </a:p>
        </p:txBody>
      </p:sp>
      <p:sp>
        <p:nvSpPr>
          <p:cNvPr id="28" name="TextBox 27">
            <a:extLst>
              <a:ext uri="{FF2B5EF4-FFF2-40B4-BE49-F238E27FC236}">
                <a16:creationId xmlns:a16="http://schemas.microsoft.com/office/drawing/2014/main" id="{D86987AA-49C4-4B15-83B2-6E315FA0C4A2}"/>
              </a:ext>
            </a:extLst>
          </p:cNvPr>
          <p:cNvSpPr txBox="1"/>
          <p:nvPr/>
        </p:nvSpPr>
        <p:spPr>
          <a:xfrm>
            <a:off x="11203617"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7</a:t>
            </a:r>
            <a:endParaRPr lang="nl-NL" sz="1000" noProof="0" dirty="0">
              <a:solidFill>
                <a:srgbClr val="95C5C9"/>
              </a:solidFill>
            </a:endParaRPr>
          </a:p>
        </p:txBody>
      </p:sp>
    </p:spTree>
    <p:extLst>
      <p:ext uri="{BB962C8B-B14F-4D97-AF65-F5344CB8AC3E}">
        <p14:creationId xmlns:p14="http://schemas.microsoft.com/office/powerpoint/2010/main" val="18386648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DA8183D-2040-4969-9BE4-B4823A255F7A}"/>
              </a:ext>
            </a:extLst>
          </p:cNvPr>
          <p:cNvGraphicFramePr>
            <a:graphicFrameLocks noChangeAspect="1"/>
          </p:cNvGraphicFramePr>
          <p:nvPr>
            <p:custDataLst>
              <p:tags r:id="rId2"/>
            </p:custDataLst>
            <p:extLst>
              <p:ext uri="{D42A27DB-BD31-4B8C-83A1-F6EECF244321}">
                <p14:modId xmlns:p14="http://schemas.microsoft.com/office/powerpoint/2010/main" val="1138107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67" name="think-cell Slide" r:id="rId4" imgW="425" imgH="426" progId="TCLayout.ActiveDocument.1">
                  <p:embed/>
                </p:oleObj>
              </mc:Choice>
              <mc:Fallback>
                <p:oleObj name="think-cell Slide" r:id="rId4" imgW="425" imgH="426" progId="TCLayout.ActiveDocument.1">
                  <p:embed/>
                  <p:pic>
                    <p:nvPicPr>
                      <p:cNvPr id="7" name="Object 6" hidden="1">
                        <a:extLst>
                          <a:ext uri="{FF2B5EF4-FFF2-40B4-BE49-F238E27FC236}">
                            <a16:creationId xmlns:a16="http://schemas.microsoft.com/office/drawing/2014/main" id="{9DA8183D-2040-4969-9BE4-B4823A255F7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Content Placeholder 20">
            <a:extLst>
              <a:ext uri="{FF2B5EF4-FFF2-40B4-BE49-F238E27FC236}">
                <a16:creationId xmlns:a16="http://schemas.microsoft.com/office/drawing/2014/main" id="{8508988E-157F-417E-A9C1-68F0FBE11F80}"/>
              </a:ext>
            </a:extLst>
          </p:cNvPr>
          <p:cNvSpPr>
            <a:spLocks noGrp="1"/>
          </p:cNvSpPr>
          <p:nvPr>
            <p:ph sz="quarter" idx="31"/>
          </p:nvPr>
        </p:nvSpPr>
        <p:spPr/>
        <p:txBody>
          <a:bodyPr lIns="54000" rIns="54000"/>
          <a:lstStyle/>
          <a:p>
            <a:pPr marL="0" indent="0">
              <a:lnSpc>
                <a:spcPct val="100000"/>
              </a:lnSpc>
              <a:buNone/>
            </a:pPr>
            <a:r>
              <a:rPr lang="nl-NL" dirty="0"/>
              <a:t>Onderdeel van het selectieproces bij It's Public is een case interview. Een case interview simuleert belangrijke onderdelen van het werk als een strategisch consultant:</a:t>
            </a:r>
          </a:p>
          <a:p>
            <a:pPr>
              <a:lnSpc>
                <a:spcPct val="100000"/>
              </a:lnSpc>
            </a:pPr>
            <a:r>
              <a:rPr lang="nl-NL" dirty="0"/>
              <a:t>het structureren en analyseren van een probleem </a:t>
            </a:r>
          </a:p>
          <a:p>
            <a:pPr>
              <a:lnSpc>
                <a:spcPct val="100000"/>
              </a:lnSpc>
            </a:pPr>
            <a:r>
              <a:rPr lang="nl-NL" dirty="0"/>
              <a:t>met creatieve oplossingen komen </a:t>
            </a:r>
          </a:p>
          <a:p>
            <a:pPr>
              <a:lnSpc>
                <a:spcPct val="100000"/>
              </a:lnSpc>
            </a:pPr>
            <a:r>
              <a:rPr lang="nl-NL" dirty="0"/>
              <a:t>effectief communiceren</a:t>
            </a:r>
          </a:p>
          <a:p>
            <a:pPr marL="0" indent="0">
              <a:lnSpc>
                <a:spcPct val="100000"/>
              </a:lnSpc>
              <a:buNone/>
            </a:pPr>
            <a:br>
              <a:rPr lang="nl-NL" dirty="0"/>
            </a:br>
            <a:r>
              <a:rPr lang="nl-NL" dirty="0"/>
              <a:t>Deze vorm van interviewen wordt dan ook door veel strategische adviesbureaus toegepast. </a:t>
            </a:r>
          </a:p>
          <a:p>
            <a:pPr marL="0" indent="0">
              <a:lnSpc>
                <a:spcPct val="100000"/>
              </a:lnSpc>
              <a:buNone/>
            </a:pPr>
            <a:br>
              <a:rPr lang="nl-NL" dirty="0"/>
            </a:br>
            <a:r>
              <a:rPr lang="nl-NL" dirty="0"/>
              <a:t>In dit document geven wij uitleg over hoe een case interview werkt en is er een oefencase waarmee jij je kan voorbereiden op een case interview bij It’s Public.</a:t>
            </a:r>
          </a:p>
          <a:p>
            <a:pPr marL="0" indent="0">
              <a:lnSpc>
                <a:spcPct val="100000"/>
              </a:lnSpc>
              <a:buNone/>
            </a:pPr>
            <a:endParaRPr lang="nl-NL" dirty="0"/>
          </a:p>
          <a:p>
            <a:pPr marL="0" indent="0">
              <a:lnSpc>
                <a:spcPct val="100000"/>
              </a:lnSpc>
              <a:buNone/>
            </a:pPr>
            <a:r>
              <a:rPr lang="nl-NL" dirty="0"/>
              <a:t>We wensen je veel plezier en succes bij de voorbereiding.</a:t>
            </a:r>
          </a:p>
          <a:p>
            <a:pPr marL="0" indent="0">
              <a:buNone/>
            </a:pPr>
            <a:endParaRPr lang="nl-NL" dirty="0"/>
          </a:p>
        </p:txBody>
      </p:sp>
      <p:sp>
        <p:nvSpPr>
          <p:cNvPr id="22" name="Text Placeholder 21">
            <a:extLst>
              <a:ext uri="{FF2B5EF4-FFF2-40B4-BE49-F238E27FC236}">
                <a16:creationId xmlns:a16="http://schemas.microsoft.com/office/drawing/2014/main" id="{4C9306B2-F2AA-4251-8EBA-2391F022E7B3}"/>
              </a:ext>
            </a:extLst>
          </p:cNvPr>
          <p:cNvSpPr>
            <a:spLocks noGrp="1"/>
          </p:cNvSpPr>
          <p:nvPr>
            <p:ph type="body" sz="quarter" idx="34"/>
          </p:nvPr>
        </p:nvSpPr>
        <p:spPr>
          <a:xfrm>
            <a:off x="6237221" y="1699963"/>
            <a:ext cx="5292000" cy="360000"/>
          </a:xfrm>
        </p:spPr>
        <p:txBody>
          <a:bodyPr/>
          <a:lstStyle/>
          <a:p>
            <a:r>
              <a:rPr lang="nl-NL" dirty="0"/>
              <a:t>Dit document bestaat uit twee onderdelen</a:t>
            </a:r>
          </a:p>
        </p:txBody>
      </p:sp>
      <p:sp>
        <p:nvSpPr>
          <p:cNvPr id="20" name="Text Placeholder 19">
            <a:extLst>
              <a:ext uri="{FF2B5EF4-FFF2-40B4-BE49-F238E27FC236}">
                <a16:creationId xmlns:a16="http://schemas.microsoft.com/office/drawing/2014/main" id="{17A70AA7-5C43-496B-BC05-221B4169D2E9}"/>
              </a:ext>
            </a:extLst>
          </p:cNvPr>
          <p:cNvSpPr>
            <a:spLocks noGrp="1"/>
          </p:cNvSpPr>
          <p:nvPr>
            <p:ph type="body" sz="quarter" idx="30"/>
          </p:nvPr>
        </p:nvSpPr>
        <p:spPr/>
        <p:txBody>
          <a:bodyPr lIns="43200" rIns="36000"/>
          <a:lstStyle/>
          <a:p>
            <a:r>
              <a:rPr lang="nl-NL" dirty="0"/>
              <a:t>Introductie</a:t>
            </a:r>
          </a:p>
        </p:txBody>
      </p:sp>
      <p:sp>
        <p:nvSpPr>
          <p:cNvPr id="18" name="Text Placeholder 17">
            <a:extLst>
              <a:ext uri="{FF2B5EF4-FFF2-40B4-BE49-F238E27FC236}">
                <a16:creationId xmlns:a16="http://schemas.microsoft.com/office/drawing/2014/main" id="{A3E171C0-7F61-4B3F-9607-1521C0913A9B}"/>
              </a:ext>
            </a:extLst>
          </p:cNvPr>
          <p:cNvSpPr>
            <a:spLocks noGrp="1"/>
          </p:cNvSpPr>
          <p:nvPr>
            <p:ph type="body" sz="quarter" idx="14"/>
          </p:nvPr>
        </p:nvSpPr>
        <p:spPr/>
        <p:txBody>
          <a:bodyPr/>
          <a:lstStyle/>
          <a:p>
            <a:endParaRPr lang="nl-NL"/>
          </a:p>
        </p:txBody>
      </p:sp>
      <p:sp>
        <p:nvSpPr>
          <p:cNvPr id="5" name="Title 4">
            <a:extLst>
              <a:ext uri="{FF2B5EF4-FFF2-40B4-BE49-F238E27FC236}">
                <a16:creationId xmlns:a16="http://schemas.microsoft.com/office/drawing/2014/main" id="{CE4B8821-CD5F-478F-86C5-3DA801B5D726}"/>
              </a:ext>
            </a:extLst>
          </p:cNvPr>
          <p:cNvSpPr>
            <a:spLocks noGrp="1"/>
          </p:cNvSpPr>
          <p:nvPr>
            <p:ph type="title"/>
          </p:nvPr>
        </p:nvSpPr>
        <p:spPr/>
        <p:txBody>
          <a:bodyPr vert="horz" lIns="36000" rIns="36000"/>
          <a:lstStyle/>
          <a:p>
            <a:r>
              <a:rPr lang="nl-NL" dirty="0"/>
              <a:t>Algemene introductie</a:t>
            </a:r>
          </a:p>
        </p:txBody>
      </p:sp>
      <p:sp>
        <p:nvSpPr>
          <p:cNvPr id="19" name="Text Placeholder 18">
            <a:extLst>
              <a:ext uri="{FF2B5EF4-FFF2-40B4-BE49-F238E27FC236}">
                <a16:creationId xmlns:a16="http://schemas.microsoft.com/office/drawing/2014/main" id="{2202EC12-1476-4A1B-903D-4924FCA40998}"/>
              </a:ext>
            </a:extLst>
          </p:cNvPr>
          <p:cNvSpPr>
            <a:spLocks noGrp="1"/>
          </p:cNvSpPr>
          <p:nvPr>
            <p:ph type="body" sz="quarter" idx="20"/>
          </p:nvPr>
        </p:nvSpPr>
        <p:spPr/>
        <p:txBody>
          <a:bodyPr/>
          <a:lstStyle/>
          <a:p>
            <a:endParaRPr lang="nl-NL"/>
          </a:p>
        </p:txBody>
      </p:sp>
      <p:grpSp>
        <p:nvGrpSpPr>
          <p:cNvPr id="25" name="Group 24">
            <a:extLst>
              <a:ext uri="{FF2B5EF4-FFF2-40B4-BE49-F238E27FC236}">
                <a16:creationId xmlns:a16="http://schemas.microsoft.com/office/drawing/2014/main" id="{21646102-614E-4309-8894-3B3A9C6563D1}"/>
              </a:ext>
            </a:extLst>
          </p:cNvPr>
          <p:cNvGrpSpPr/>
          <p:nvPr/>
        </p:nvGrpSpPr>
        <p:grpSpPr>
          <a:xfrm>
            <a:off x="6237221" y="4416829"/>
            <a:ext cx="5101618" cy="1900999"/>
            <a:chOff x="6327344" y="4416829"/>
            <a:chExt cx="5101618" cy="1900999"/>
          </a:xfrm>
        </p:grpSpPr>
        <p:sp>
          <p:nvSpPr>
            <p:cNvPr id="13" name="Text Placeholder 9">
              <a:extLst>
                <a:ext uri="{FF2B5EF4-FFF2-40B4-BE49-F238E27FC236}">
                  <a16:creationId xmlns:a16="http://schemas.microsoft.com/office/drawing/2014/main" id="{0309BBED-FBB4-4211-90DF-30A1D7012731}"/>
                </a:ext>
              </a:extLst>
            </p:cNvPr>
            <p:cNvSpPr txBox="1">
              <a:spLocks/>
            </p:cNvSpPr>
            <p:nvPr/>
          </p:nvSpPr>
          <p:spPr>
            <a:xfrm>
              <a:off x="6327344" y="4416829"/>
              <a:ext cx="2150722" cy="1900998"/>
            </a:xfrm>
            <a:prstGeom prst="rect">
              <a:avLst/>
            </a:prstGeom>
            <a:solidFill>
              <a:schemeClr val="tx2"/>
            </a:solidFill>
            <a:ln w="28575">
              <a:noFill/>
            </a:ln>
            <a:extLst>
              <a:ext uri="{91240B29-F687-4F45-9708-019B960494DF}">
                <a14:hiddenLine xmlns:a14="http://schemas.microsoft.com/office/drawing/2010/main" w="28575">
                  <a:solidFill>
                    <a:srgbClr val="22777B"/>
                  </a:solidFill>
                </a14:hiddenLine>
              </a:ext>
            </a:extLst>
          </p:spPr>
          <p:txBody>
            <a:bodyPr lIns="0" tIns="0" rIns="0" bIns="0" anchor="ct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None/>
              </a:pPr>
              <a:r>
                <a:rPr lang="en-US" sz="2000" b="1" dirty="0" err="1">
                  <a:solidFill>
                    <a:srgbClr val="FFFFFF"/>
                  </a:solidFill>
                </a:rPr>
                <a:t>Oefencase</a:t>
              </a:r>
              <a:r>
                <a:rPr lang="en-US" sz="2000" b="1" dirty="0">
                  <a:solidFill>
                    <a:srgbClr val="FFFFFF"/>
                  </a:solidFill>
                </a:rPr>
                <a:t> – het </a:t>
              </a:r>
              <a:r>
                <a:rPr lang="en-US" sz="2000" b="1" dirty="0" err="1">
                  <a:solidFill>
                    <a:srgbClr val="FFFFFF"/>
                  </a:solidFill>
                </a:rPr>
                <a:t>lerarentekort</a:t>
              </a:r>
              <a:r>
                <a:rPr lang="en-US" sz="2000" b="1" dirty="0">
                  <a:solidFill>
                    <a:srgbClr val="FFFFFF"/>
                  </a:solidFill>
                </a:rPr>
                <a:t> in Amsterdam </a:t>
              </a:r>
              <a:endParaRPr lang="en-US" b="1" dirty="0">
                <a:solidFill>
                  <a:srgbClr val="FFFFFF"/>
                </a:solidFill>
              </a:endParaRPr>
            </a:p>
          </p:txBody>
        </p:sp>
        <p:pic>
          <p:nvPicPr>
            <p:cNvPr id="14" name="Picture Placeholder 15" descr="A group of people sitting at desks in a classroom&#10;&#10;Description automatically generated with medium confidence">
              <a:extLst>
                <a:ext uri="{FF2B5EF4-FFF2-40B4-BE49-F238E27FC236}">
                  <a16:creationId xmlns:a16="http://schemas.microsoft.com/office/drawing/2014/main" id="{DA055EAC-CB63-410C-A1A6-22C5B28A8889}"/>
                </a:ext>
              </a:extLst>
            </p:cNvPr>
            <p:cNvPicPr>
              <a:picLocks noChangeAspect="1"/>
            </p:cNvPicPr>
            <p:nvPr/>
          </p:nvPicPr>
          <p:blipFill>
            <a:blip r:embed="rId6" cstate="hqprint">
              <a:extLst>
                <a:ext uri="{28A0092B-C50C-407E-A947-70E740481C1C}">
                  <a14:useLocalDpi xmlns:a14="http://schemas.microsoft.com/office/drawing/2010/main"/>
                </a:ext>
              </a:extLst>
            </a:blip>
            <a:srcRect/>
            <a:stretch>
              <a:fillRect/>
            </a:stretch>
          </p:blipFill>
          <p:spPr>
            <a:xfrm>
              <a:off x="8478166" y="4416829"/>
              <a:ext cx="2950796" cy="1900998"/>
            </a:xfrm>
            <a:prstGeom prst="rect">
              <a:avLst/>
            </a:prstGeom>
            <a:ln w="28575">
              <a:noFill/>
            </a:ln>
            <a:extLst>
              <a:ext uri="{91240B29-F687-4F45-9708-019B960494DF}">
                <a14:hiddenLine xmlns:a14="http://schemas.microsoft.com/office/drawing/2010/main" w="28575">
                  <a:solidFill>
                    <a:schemeClr val="accent1"/>
                  </a:solidFill>
                </a14:hiddenLine>
              </a:ext>
            </a:extLst>
          </p:spPr>
        </p:pic>
        <p:sp>
          <p:nvSpPr>
            <p:cNvPr id="17" name="Rectangle 16">
              <a:extLst>
                <a:ext uri="{FF2B5EF4-FFF2-40B4-BE49-F238E27FC236}">
                  <a16:creationId xmlns:a16="http://schemas.microsoft.com/office/drawing/2014/main" id="{EA859E6C-DAFC-426D-8A87-1FC2D01EDA03}"/>
                </a:ext>
              </a:extLst>
            </p:cNvPr>
            <p:cNvSpPr/>
            <p:nvPr/>
          </p:nvSpPr>
          <p:spPr>
            <a:xfrm>
              <a:off x="8478066" y="4423426"/>
              <a:ext cx="2950896" cy="1894401"/>
            </a:xfrm>
            <a:prstGeom prst="rect">
              <a:avLst/>
            </a:prstGeom>
            <a:solidFill>
              <a:srgbClr val="95C5C9">
                <a:alpha val="60000"/>
              </a:srgbClr>
            </a:solidFill>
            <a:ln w="2857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a:p>
          </p:txBody>
        </p:sp>
        <p:sp>
          <p:nvSpPr>
            <p:cNvPr id="16" name="Rectangle 15">
              <a:extLst>
                <a:ext uri="{FF2B5EF4-FFF2-40B4-BE49-F238E27FC236}">
                  <a16:creationId xmlns:a16="http://schemas.microsoft.com/office/drawing/2014/main" id="{9F3EB287-2E9A-4FE9-8879-1BF4CE755607}"/>
                </a:ext>
              </a:extLst>
            </p:cNvPr>
            <p:cNvSpPr/>
            <p:nvPr/>
          </p:nvSpPr>
          <p:spPr>
            <a:xfrm>
              <a:off x="6327344" y="4416830"/>
              <a:ext cx="5101618" cy="1900998"/>
            </a:xfrm>
            <a:prstGeom prst="rect">
              <a:avLst/>
            </a:prstGeom>
            <a:noFill/>
            <a:ln w="28575" cap="flat">
              <a:solidFill>
                <a:srgbClr val="22777B"/>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a:p>
          </p:txBody>
        </p:sp>
      </p:grpSp>
      <p:pic>
        <p:nvPicPr>
          <p:cNvPr id="10" name="Picture Placeholder 13" descr="A person writing on a piece of paper&#10;&#10;Description automatically generated with medium confidence">
            <a:extLst>
              <a:ext uri="{FF2B5EF4-FFF2-40B4-BE49-F238E27FC236}">
                <a16:creationId xmlns:a16="http://schemas.microsoft.com/office/drawing/2014/main" id="{EBA692E5-9C82-4E9E-9070-85D90F66998C}"/>
              </a:ext>
            </a:extLst>
          </p:cNvPr>
          <p:cNvPicPr>
            <a:picLocks noChangeAspect="1"/>
          </p:cNvPicPr>
          <p:nvPr/>
        </p:nvPicPr>
        <p:blipFill>
          <a:blip r:embed="rId7" cstate="hqprint">
            <a:extLst>
              <a:ext uri="{28A0092B-C50C-407E-A947-70E740481C1C}">
                <a14:useLocalDpi xmlns:a14="http://schemas.microsoft.com/office/drawing/2010/main"/>
              </a:ext>
            </a:extLst>
          </a:blip>
          <a:srcRect/>
          <a:stretch>
            <a:fillRect/>
          </a:stretch>
        </p:blipFill>
        <p:spPr>
          <a:xfrm>
            <a:off x="8387943" y="2206965"/>
            <a:ext cx="2950896" cy="1901190"/>
          </a:xfrm>
          <a:prstGeom prst="rect">
            <a:avLst/>
          </a:prstGeom>
          <a:ln w="28575">
            <a:noFill/>
          </a:ln>
          <a:extLst>
            <a:ext uri="{91240B29-F687-4F45-9708-019B960494DF}">
              <a14:hiddenLine xmlns:a14="http://schemas.microsoft.com/office/drawing/2010/main" w="28575">
                <a:solidFill>
                  <a:schemeClr val="accent1"/>
                </a:solidFill>
              </a14:hiddenLine>
            </a:ext>
          </a:extLst>
        </p:spPr>
      </p:pic>
      <p:sp>
        <p:nvSpPr>
          <p:cNvPr id="15" name="Rectangle 14">
            <a:extLst>
              <a:ext uri="{FF2B5EF4-FFF2-40B4-BE49-F238E27FC236}">
                <a16:creationId xmlns:a16="http://schemas.microsoft.com/office/drawing/2014/main" id="{A678054B-44AE-4E9C-8238-572DE69BA452}"/>
              </a:ext>
            </a:extLst>
          </p:cNvPr>
          <p:cNvSpPr/>
          <p:nvPr/>
        </p:nvSpPr>
        <p:spPr>
          <a:xfrm>
            <a:off x="8387943" y="2206964"/>
            <a:ext cx="2950896" cy="1894401"/>
          </a:xfrm>
          <a:prstGeom prst="rect">
            <a:avLst/>
          </a:prstGeom>
          <a:solidFill>
            <a:srgbClr val="95C5C9">
              <a:alpha val="60000"/>
            </a:srgbClr>
          </a:solidFill>
          <a:ln w="2857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a:p>
        </p:txBody>
      </p:sp>
      <p:sp>
        <p:nvSpPr>
          <p:cNvPr id="12" name="Rectangle 11">
            <a:extLst>
              <a:ext uri="{FF2B5EF4-FFF2-40B4-BE49-F238E27FC236}">
                <a16:creationId xmlns:a16="http://schemas.microsoft.com/office/drawing/2014/main" id="{80938F90-0139-4701-88DF-2F25B94DDCAF}"/>
              </a:ext>
            </a:extLst>
          </p:cNvPr>
          <p:cNvSpPr/>
          <p:nvPr/>
        </p:nvSpPr>
        <p:spPr>
          <a:xfrm>
            <a:off x="6237221" y="2200367"/>
            <a:ext cx="5101618" cy="1907788"/>
          </a:xfrm>
          <a:prstGeom prst="rect">
            <a:avLst/>
          </a:prstGeom>
          <a:noFill/>
          <a:ln w="28575" cap="flat">
            <a:solidFill>
              <a:srgbClr val="22777B"/>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a:p>
        </p:txBody>
      </p:sp>
      <p:sp>
        <p:nvSpPr>
          <p:cNvPr id="9" name="Text Placeholder 7">
            <a:extLst>
              <a:ext uri="{FF2B5EF4-FFF2-40B4-BE49-F238E27FC236}">
                <a16:creationId xmlns:a16="http://schemas.microsoft.com/office/drawing/2014/main" id="{BF25AE83-9DED-4C5A-98F8-549EA8BD87FC}"/>
              </a:ext>
            </a:extLst>
          </p:cNvPr>
          <p:cNvSpPr txBox="1">
            <a:spLocks/>
          </p:cNvSpPr>
          <p:nvPr/>
        </p:nvSpPr>
        <p:spPr>
          <a:xfrm>
            <a:off x="6237222" y="2200367"/>
            <a:ext cx="2150721" cy="1900998"/>
          </a:xfrm>
          <a:prstGeom prst="rect">
            <a:avLst/>
          </a:prstGeom>
          <a:solidFill>
            <a:schemeClr val="tx2"/>
          </a:solidFill>
          <a:ln w="9525">
            <a:solidFill>
              <a:srgbClr val="22777B"/>
            </a:solidFill>
          </a:ln>
        </p:spPr>
        <p:txBody>
          <a:bodyPr lIns="0" tIns="0" rIns="0" bIns="0" anchor="ct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buNone/>
            </a:pPr>
            <a:r>
              <a:rPr lang="en-US" sz="2000" b="1" dirty="0" err="1">
                <a:solidFill>
                  <a:srgbClr val="FFFFFF"/>
                </a:solidFill>
              </a:rPr>
              <a:t>Uitleg</a:t>
            </a:r>
            <a:r>
              <a:rPr lang="en-US" sz="2000" b="1" dirty="0">
                <a:solidFill>
                  <a:srgbClr val="FFFFFF"/>
                </a:solidFill>
              </a:rPr>
              <a:t> over case interviews</a:t>
            </a:r>
            <a:endParaRPr lang="en-US" sz="1050" b="1" dirty="0">
              <a:solidFill>
                <a:srgbClr val="FFFFFF"/>
              </a:solidFill>
            </a:endParaRPr>
          </a:p>
        </p:txBody>
      </p:sp>
    </p:spTree>
    <p:extLst>
      <p:ext uri="{BB962C8B-B14F-4D97-AF65-F5344CB8AC3E}">
        <p14:creationId xmlns:p14="http://schemas.microsoft.com/office/powerpoint/2010/main" val="11576796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ABE98B0-3C8A-43C8-8200-5975A1E67A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38"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CABE98B0-3C8A-43C8-8200-5975A1E67A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1442" name="Picture 2">
            <a:extLst>
              <a:ext uri="{FF2B5EF4-FFF2-40B4-BE49-F238E27FC236}">
                <a16:creationId xmlns:a16="http://schemas.microsoft.com/office/drawing/2014/main" id="{F31421FC-687C-4775-BBCA-9AC90E0C78E6}"/>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D85439E5-6E0C-4BFB-9E2A-FA280E638BDE}"/>
              </a:ext>
            </a:extLst>
          </p:cNvPr>
          <p:cNvSpPr/>
          <p:nvPr/>
        </p:nvSpPr>
        <p:spPr>
          <a:xfrm>
            <a:off x="0" y="-2"/>
            <a:ext cx="12191999" cy="6858001"/>
          </a:xfrm>
          <a:prstGeom prst="rect">
            <a:avLst/>
          </a:prstGeom>
          <a:solidFill>
            <a:schemeClr val="bg1">
              <a:lumMod val="95000"/>
              <a:alpha val="84000"/>
            </a:schemeClr>
          </a:solidFill>
          <a:ln>
            <a:noFill/>
          </a:ln>
        </p:spPr>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0" indent="0">
              <a:lnSpc>
                <a:spcPct val="100000"/>
              </a:lnSpc>
              <a:buNone/>
            </a:pPr>
            <a:r>
              <a:rPr lang="nl-NL" sz="4400" b="1" dirty="0">
                <a:solidFill>
                  <a:srgbClr val="22777B"/>
                </a:solidFill>
              </a:rPr>
              <a:t>Vraag 5</a:t>
            </a:r>
          </a:p>
          <a:p>
            <a:pPr marL="0" indent="0">
              <a:lnSpc>
                <a:spcPct val="100000"/>
              </a:lnSpc>
              <a:buNone/>
            </a:pPr>
            <a:br>
              <a:rPr lang="nl-NL" sz="2400" dirty="0"/>
            </a:br>
            <a:r>
              <a:rPr lang="nl-NL" sz="2400" dirty="0"/>
              <a:t>Het is goed om stil te staan bij het feit dat in Amsterdam relatief veel jonge startende leraren werken, dit is relevant voor de problematiek. Veel van deze jonge leraren trekken namelijk op een gegeven moment de stad uit. Verwacht wordt dat het niet mogelijk is om deze groep op de lange termijn te behouden, maar dat er wel maatregelen te verzinnen zijn om hen wat langer te laten blijven. </a:t>
            </a:r>
          </a:p>
          <a:p>
            <a:pPr marL="0" indent="0">
              <a:lnSpc>
                <a:spcPct val="100000"/>
              </a:lnSpc>
              <a:buNone/>
            </a:pPr>
            <a:r>
              <a:rPr lang="nl-NL" sz="2400" dirty="0"/>
              <a:t>Kun jij een inschatting maken hoeveel extra leraren er in Amsterdam zouden werken wanneer jonge leraren twee jaar later uit de stad trekken om elders te gaan wonen en werken? Je kunt hierbij aannemen dat er op dit moment ongeveer 4.500 leraren in Amsterdam werken.</a:t>
            </a:r>
          </a:p>
          <a:p>
            <a:pPr marL="0" indent="0">
              <a:lnSpc>
                <a:spcPct val="100000"/>
              </a:lnSpc>
              <a:buNone/>
            </a:pPr>
            <a:endParaRPr lang="nl-NL" sz="2400" dirty="0">
              <a:solidFill>
                <a:srgbClr val="FFFFFF"/>
              </a:solidFill>
            </a:endParaRPr>
          </a:p>
        </p:txBody>
      </p:sp>
      <p:grpSp>
        <p:nvGrpSpPr>
          <p:cNvPr id="21" name="Group 20">
            <a:extLst>
              <a:ext uri="{FF2B5EF4-FFF2-40B4-BE49-F238E27FC236}">
                <a16:creationId xmlns:a16="http://schemas.microsoft.com/office/drawing/2014/main" id="{C5578B65-C922-42B5-B58E-017E05320628}"/>
              </a:ext>
            </a:extLst>
          </p:cNvPr>
          <p:cNvGrpSpPr/>
          <p:nvPr/>
        </p:nvGrpSpPr>
        <p:grpSpPr>
          <a:xfrm>
            <a:off x="2192835" y="237963"/>
            <a:ext cx="736493" cy="508712"/>
            <a:chOff x="2836863" y="3201988"/>
            <a:chExt cx="2001837" cy="1382712"/>
          </a:xfrm>
          <a:solidFill>
            <a:schemeClr val="tx2"/>
          </a:solidFill>
        </p:grpSpPr>
        <p:sp>
          <p:nvSpPr>
            <p:cNvPr id="22" name="Freeform 1">
              <a:extLst>
                <a:ext uri="{FF2B5EF4-FFF2-40B4-BE49-F238E27FC236}">
                  <a16:creationId xmlns:a16="http://schemas.microsoft.com/office/drawing/2014/main" id="{3B7896AF-670D-49F2-865F-D697DA861715}"/>
                </a:ext>
              </a:extLst>
            </p:cNvPr>
            <p:cNvSpPr>
              <a:spLocks noChangeArrowheads="1"/>
            </p:cNvSpPr>
            <p:nvPr/>
          </p:nvSpPr>
          <p:spPr bwMode="auto">
            <a:xfrm>
              <a:off x="2870200" y="3246438"/>
              <a:ext cx="1450975" cy="1247775"/>
            </a:xfrm>
            <a:custGeom>
              <a:avLst/>
              <a:gdLst>
                <a:gd name="T0" fmla="*/ 3625 w 4032"/>
                <a:gd name="T1" fmla="*/ 593 h 3468"/>
                <a:gd name="T2" fmla="*/ 3625 w 4032"/>
                <a:gd name="T3" fmla="*/ 593 h 3468"/>
                <a:gd name="T4" fmla="*/ 2000 w 4032"/>
                <a:gd name="T5" fmla="*/ 0 h 3468"/>
                <a:gd name="T6" fmla="*/ 593 w 4032"/>
                <a:gd name="T7" fmla="*/ 468 h 3468"/>
                <a:gd name="T8" fmla="*/ 593 w 4032"/>
                <a:gd name="T9" fmla="*/ 468 h 3468"/>
                <a:gd name="T10" fmla="*/ 31 w 4032"/>
                <a:gd name="T11" fmla="*/ 1531 h 3468"/>
                <a:gd name="T12" fmla="*/ 593 w 4032"/>
                <a:gd name="T13" fmla="*/ 2592 h 3468"/>
                <a:gd name="T14" fmla="*/ 500 w 4032"/>
                <a:gd name="T15" fmla="*/ 3374 h 3468"/>
                <a:gd name="T16" fmla="*/ 406 w 4032"/>
                <a:gd name="T17" fmla="*/ 3467 h 3468"/>
                <a:gd name="T18" fmla="*/ 531 w 4032"/>
                <a:gd name="T19" fmla="*/ 3467 h 3468"/>
                <a:gd name="T20" fmla="*/ 1343 w 4032"/>
                <a:gd name="T21" fmla="*/ 2967 h 3468"/>
                <a:gd name="T22" fmla="*/ 2093 w 4032"/>
                <a:gd name="T23" fmla="*/ 3030 h 3468"/>
                <a:gd name="T24" fmla="*/ 3531 w 4032"/>
                <a:gd name="T25" fmla="*/ 2592 h 3468"/>
                <a:gd name="T26" fmla="*/ 4031 w 4032"/>
                <a:gd name="T27" fmla="*/ 1531 h 3468"/>
                <a:gd name="T28" fmla="*/ 3625 w 4032"/>
                <a:gd name="T29" fmla="*/ 593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2" h="3468">
                  <a:moveTo>
                    <a:pt x="3625" y="593"/>
                  </a:moveTo>
                  <a:lnTo>
                    <a:pt x="3625" y="593"/>
                  </a:lnTo>
                  <a:cubicBezTo>
                    <a:pt x="3250" y="218"/>
                    <a:pt x="2625" y="0"/>
                    <a:pt x="2000" y="0"/>
                  </a:cubicBezTo>
                  <a:cubicBezTo>
                    <a:pt x="1468" y="0"/>
                    <a:pt x="1000" y="156"/>
                    <a:pt x="593" y="468"/>
                  </a:cubicBezTo>
                  <a:lnTo>
                    <a:pt x="593" y="468"/>
                  </a:lnTo>
                  <a:cubicBezTo>
                    <a:pt x="218" y="781"/>
                    <a:pt x="0" y="1156"/>
                    <a:pt x="31" y="1531"/>
                  </a:cubicBezTo>
                  <a:cubicBezTo>
                    <a:pt x="62" y="2217"/>
                    <a:pt x="500" y="2530"/>
                    <a:pt x="593" y="2592"/>
                  </a:cubicBezTo>
                  <a:cubicBezTo>
                    <a:pt x="625" y="2717"/>
                    <a:pt x="687" y="3092"/>
                    <a:pt x="500" y="3374"/>
                  </a:cubicBezTo>
                  <a:cubicBezTo>
                    <a:pt x="406" y="3467"/>
                    <a:pt x="406" y="3467"/>
                    <a:pt x="406" y="3467"/>
                  </a:cubicBezTo>
                  <a:cubicBezTo>
                    <a:pt x="531" y="3467"/>
                    <a:pt x="531" y="3467"/>
                    <a:pt x="531" y="3467"/>
                  </a:cubicBezTo>
                  <a:cubicBezTo>
                    <a:pt x="1000" y="3436"/>
                    <a:pt x="1281" y="3092"/>
                    <a:pt x="1343" y="2967"/>
                  </a:cubicBezTo>
                  <a:cubicBezTo>
                    <a:pt x="1437" y="2999"/>
                    <a:pt x="1718" y="3061"/>
                    <a:pt x="2093" y="3030"/>
                  </a:cubicBezTo>
                  <a:cubicBezTo>
                    <a:pt x="2656" y="3030"/>
                    <a:pt x="3156" y="2874"/>
                    <a:pt x="3531" y="2592"/>
                  </a:cubicBezTo>
                  <a:cubicBezTo>
                    <a:pt x="3843" y="2280"/>
                    <a:pt x="4031" y="1905"/>
                    <a:pt x="4031" y="1531"/>
                  </a:cubicBezTo>
                  <a:cubicBezTo>
                    <a:pt x="4031" y="1218"/>
                    <a:pt x="3906" y="906"/>
                    <a:pt x="3625" y="5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3" name="Freeform 2">
              <a:extLst>
                <a:ext uri="{FF2B5EF4-FFF2-40B4-BE49-F238E27FC236}">
                  <a16:creationId xmlns:a16="http://schemas.microsoft.com/office/drawing/2014/main" id="{CAD3F577-FAD4-4169-913E-31809A4FFBDC}"/>
                </a:ext>
              </a:extLst>
            </p:cNvPr>
            <p:cNvSpPr>
              <a:spLocks noChangeArrowheads="1"/>
            </p:cNvSpPr>
            <p:nvPr/>
          </p:nvSpPr>
          <p:spPr bwMode="auto">
            <a:xfrm>
              <a:off x="3983038" y="3201988"/>
              <a:ext cx="855662" cy="1338262"/>
            </a:xfrm>
            <a:custGeom>
              <a:avLst/>
              <a:gdLst>
                <a:gd name="T0" fmla="*/ 1781 w 2376"/>
                <a:gd name="T1" fmla="*/ 2811 h 3718"/>
                <a:gd name="T2" fmla="*/ 1781 w 2376"/>
                <a:gd name="T3" fmla="*/ 2811 h 3718"/>
                <a:gd name="T4" fmla="*/ 2375 w 2376"/>
                <a:gd name="T5" fmla="*/ 1687 h 3718"/>
                <a:gd name="T6" fmla="*/ 1750 w 2376"/>
                <a:gd name="T7" fmla="*/ 500 h 3718"/>
                <a:gd name="T8" fmla="*/ 282 w 2376"/>
                <a:gd name="T9" fmla="*/ 0 h 3718"/>
                <a:gd name="T10" fmla="*/ 0 w 2376"/>
                <a:gd name="T11" fmla="*/ 31 h 3718"/>
                <a:gd name="T12" fmla="*/ 782 w 2376"/>
                <a:gd name="T13" fmla="*/ 531 h 3718"/>
                <a:gd name="T14" fmla="*/ 1250 w 2376"/>
                <a:gd name="T15" fmla="*/ 1656 h 3718"/>
                <a:gd name="T16" fmla="*/ 625 w 2376"/>
                <a:gd name="T17" fmla="*/ 2905 h 3718"/>
                <a:gd name="T18" fmla="*/ 0 w 2376"/>
                <a:gd name="T19" fmla="*/ 3280 h 3718"/>
                <a:gd name="T20" fmla="*/ 875 w 2376"/>
                <a:gd name="T21" fmla="*/ 3249 h 3718"/>
                <a:gd name="T22" fmla="*/ 1938 w 2376"/>
                <a:gd name="T23" fmla="*/ 3717 h 3718"/>
                <a:gd name="T24" fmla="*/ 2219 w 2376"/>
                <a:gd name="T25" fmla="*/ 3717 h 3718"/>
                <a:gd name="T26" fmla="*/ 2032 w 2376"/>
                <a:gd name="T27" fmla="*/ 3530 h 3718"/>
                <a:gd name="T28" fmla="*/ 1781 w 2376"/>
                <a:gd name="T29" fmla="*/ 2811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6" h="3718">
                  <a:moveTo>
                    <a:pt x="1781" y="2811"/>
                  </a:moveTo>
                  <a:lnTo>
                    <a:pt x="1781" y="2811"/>
                  </a:lnTo>
                  <a:cubicBezTo>
                    <a:pt x="2157" y="2499"/>
                    <a:pt x="2375" y="2092"/>
                    <a:pt x="2375" y="1687"/>
                  </a:cubicBezTo>
                  <a:cubicBezTo>
                    <a:pt x="2375" y="1218"/>
                    <a:pt x="2188" y="812"/>
                    <a:pt x="1750" y="500"/>
                  </a:cubicBezTo>
                  <a:cubicBezTo>
                    <a:pt x="1344" y="187"/>
                    <a:pt x="844" y="0"/>
                    <a:pt x="282" y="0"/>
                  </a:cubicBezTo>
                  <a:cubicBezTo>
                    <a:pt x="188" y="0"/>
                    <a:pt x="94" y="0"/>
                    <a:pt x="0" y="31"/>
                  </a:cubicBezTo>
                  <a:cubicBezTo>
                    <a:pt x="282" y="125"/>
                    <a:pt x="563" y="312"/>
                    <a:pt x="782" y="531"/>
                  </a:cubicBezTo>
                  <a:cubicBezTo>
                    <a:pt x="1094" y="843"/>
                    <a:pt x="1250" y="1218"/>
                    <a:pt x="1250" y="1656"/>
                  </a:cubicBezTo>
                  <a:cubicBezTo>
                    <a:pt x="1250" y="2124"/>
                    <a:pt x="1032" y="2592"/>
                    <a:pt x="625" y="2905"/>
                  </a:cubicBezTo>
                  <a:cubicBezTo>
                    <a:pt x="438" y="3061"/>
                    <a:pt x="219" y="3186"/>
                    <a:pt x="0" y="3280"/>
                  </a:cubicBezTo>
                  <a:cubicBezTo>
                    <a:pt x="282" y="3311"/>
                    <a:pt x="563" y="3280"/>
                    <a:pt x="875" y="3249"/>
                  </a:cubicBezTo>
                  <a:cubicBezTo>
                    <a:pt x="1125" y="3561"/>
                    <a:pt x="1469" y="3717"/>
                    <a:pt x="1938" y="3717"/>
                  </a:cubicBezTo>
                  <a:cubicBezTo>
                    <a:pt x="2219" y="3717"/>
                    <a:pt x="2219" y="3717"/>
                    <a:pt x="2219" y="3717"/>
                  </a:cubicBezTo>
                  <a:cubicBezTo>
                    <a:pt x="2032" y="3530"/>
                    <a:pt x="2032" y="3530"/>
                    <a:pt x="2032" y="3530"/>
                  </a:cubicBezTo>
                  <a:cubicBezTo>
                    <a:pt x="1813" y="3311"/>
                    <a:pt x="1750" y="3092"/>
                    <a:pt x="1781" y="28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4" name="Freeform 3">
              <a:extLst>
                <a:ext uri="{FF2B5EF4-FFF2-40B4-BE49-F238E27FC236}">
                  <a16:creationId xmlns:a16="http://schemas.microsoft.com/office/drawing/2014/main" id="{8EDCAE06-9FA2-4B47-B181-6930B4A19E56}"/>
                </a:ext>
              </a:extLst>
            </p:cNvPr>
            <p:cNvSpPr>
              <a:spLocks noChangeArrowheads="1"/>
            </p:cNvSpPr>
            <p:nvPr/>
          </p:nvSpPr>
          <p:spPr bwMode="auto">
            <a:xfrm>
              <a:off x="2836863" y="3201988"/>
              <a:ext cx="1530350" cy="1382712"/>
            </a:xfrm>
            <a:custGeom>
              <a:avLst/>
              <a:gdLst>
                <a:gd name="T0" fmla="*/ 219 w 4251"/>
                <a:gd name="T1" fmla="*/ 3717 h 3843"/>
                <a:gd name="T2" fmla="*/ 219 w 4251"/>
                <a:gd name="T3" fmla="*/ 3717 h 3843"/>
                <a:gd name="T4" fmla="*/ 594 w 4251"/>
                <a:gd name="T5" fmla="*/ 2811 h 3843"/>
                <a:gd name="T6" fmla="*/ 0 w 4251"/>
                <a:gd name="T7" fmla="*/ 1656 h 3843"/>
                <a:gd name="T8" fmla="*/ 625 w 4251"/>
                <a:gd name="T9" fmla="*/ 500 h 3843"/>
                <a:gd name="T10" fmla="*/ 2094 w 4251"/>
                <a:gd name="T11" fmla="*/ 0 h 3843"/>
                <a:gd name="T12" fmla="*/ 2094 w 4251"/>
                <a:gd name="T13" fmla="*/ 0 h 3843"/>
                <a:gd name="T14" fmla="*/ 3781 w 4251"/>
                <a:gd name="T15" fmla="*/ 625 h 3843"/>
                <a:gd name="T16" fmla="*/ 4250 w 4251"/>
                <a:gd name="T17" fmla="*/ 1656 h 3843"/>
                <a:gd name="T18" fmla="*/ 3656 w 4251"/>
                <a:gd name="T19" fmla="*/ 2780 h 3843"/>
                <a:gd name="T20" fmla="*/ 1469 w 4251"/>
                <a:gd name="T21" fmla="*/ 3217 h 3843"/>
                <a:gd name="T22" fmla="*/ 219 w 4251"/>
                <a:gd name="T23" fmla="*/ 3717 h 3843"/>
                <a:gd name="T24" fmla="*/ 719 w 4251"/>
                <a:gd name="T25" fmla="*/ 625 h 3843"/>
                <a:gd name="T26" fmla="*/ 719 w 4251"/>
                <a:gd name="T27" fmla="*/ 625 h 3843"/>
                <a:gd name="T28" fmla="*/ 187 w 4251"/>
                <a:gd name="T29" fmla="*/ 1656 h 3843"/>
                <a:gd name="T30" fmla="*/ 750 w 4251"/>
                <a:gd name="T31" fmla="*/ 2686 h 3843"/>
                <a:gd name="T32" fmla="*/ 625 w 4251"/>
                <a:gd name="T33" fmla="*/ 3530 h 3843"/>
                <a:gd name="T34" fmla="*/ 1406 w 4251"/>
                <a:gd name="T35" fmla="*/ 3030 h 3843"/>
                <a:gd name="T36" fmla="*/ 3562 w 4251"/>
                <a:gd name="T37" fmla="*/ 2655 h 3843"/>
                <a:gd name="T38" fmla="*/ 4062 w 4251"/>
                <a:gd name="T39" fmla="*/ 1656 h 3843"/>
                <a:gd name="T40" fmla="*/ 3656 w 4251"/>
                <a:gd name="T41" fmla="*/ 750 h 3843"/>
                <a:gd name="T42" fmla="*/ 2094 w 4251"/>
                <a:gd name="T43" fmla="*/ 187 h 3843"/>
                <a:gd name="T44" fmla="*/ 719 w 4251"/>
                <a:gd name="T45" fmla="*/ 625 h 3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51" h="3843">
                  <a:moveTo>
                    <a:pt x="219" y="3717"/>
                  </a:moveTo>
                  <a:lnTo>
                    <a:pt x="219" y="3717"/>
                  </a:lnTo>
                  <a:cubicBezTo>
                    <a:pt x="219" y="3717"/>
                    <a:pt x="656" y="3342"/>
                    <a:pt x="594" y="2811"/>
                  </a:cubicBezTo>
                  <a:cubicBezTo>
                    <a:pt x="219" y="2499"/>
                    <a:pt x="0" y="2092"/>
                    <a:pt x="0" y="1656"/>
                  </a:cubicBezTo>
                  <a:cubicBezTo>
                    <a:pt x="0" y="1218"/>
                    <a:pt x="219" y="812"/>
                    <a:pt x="625" y="500"/>
                  </a:cubicBezTo>
                  <a:cubicBezTo>
                    <a:pt x="1031" y="187"/>
                    <a:pt x="1531" y="0"/>
                    <a:pt x="2094" y="0"/>
                  </a:cubicBezTo>
                  <a:lnTo>
                    <a:pt x="2094" y="0"/>
                  </a:lnTo>
                  <a:cubicBezTo>
                    <a:pt x="2781" y="0"/>
                    <a:pt x="3375" y="218"/>
                    <a:pt x="3781" y="625"/>
                  </a:cubicBezTo>
                  <a:cubicBezTo>
                    <a:pt x="4094" y="937"/>
                    <a:pt x="4250" y="1281"/>
                    <a:pt x="4250" y="1656"/>
                  </a:cubicBezTo>
                  <a:cubicBezTo>
                    <a:pt x="4250" y="2092"/>
                    <a:pt x="4031" y="2499"/>
                    <a:pt x="3656" y="2780"/>
                  </a:cubicBezTo>
                  <a:cubicBezTo>
                    <a:pt x="3125" y="3217"/>
                    <a:pt x="2344" y="3374"/>
                    <a:pt x="1469" y="3217"/>
                  </a:cubicBezTo>
                  <a:cubicBezTo>
                    <a:pt x="1125" y="3842"/>
                    <a:pt x="219" y="3717"/>
                    <a:pt x="219" y="3717"/>
                  </a:cubicBezTo>
                  <a:close/>
                  <a:moveTo>
                    <a:pt x="719" y="625"/>
                  </a:moveTo>
                  <a:lnTo>
                    <a:pt x="719" y="625"/>
                  </a:lnTo>
                  <a:cubicBezTo>
                    <a:pt x="375" y="906"/>
                    <a:pt x="156" y="1281"/>
                    <a:pt x="187" y="1656"/>
                  </a:cubicBezTo>
                  <a:cubicBezTo>
                    <a:pt x="219" y="2374"/>
                    <a:pt x="750" y="2686"/>
                    <a:pt x="750" y="2686"/>
                  </a:cubicBezTo>
                  <a:cubicBezTo>
                    <a:pt x="750" y="2686"/>
                    <a:pt x="875" y="3186"/>
                    <a:pt x="625" y="3530"/>
                  </a:cubicBezTo>
                  <a:cubicBezTo>
                    <a:pt x="1125" y="3499"/>
                    <a:pt x="1406" y="3030"/>
                    <a:pt x="1406" y="3030"/>
                  </a:cubicBezTo>
                  <a:cubicBezTo>
                    <a:pt x="1406" y="3030"/>
                    <a:pt x="2719" y="3342"/>
                    <a:pt x="3562" y="2655"/>
                  </a:cubicBezTo>
                  <a:cubicBezTo>
                    <a:pt x="3875" y="2374"/>
                    <a:pt x="4062" y="2030"/>
                    <a:pt x="4062" y="1656"/>
                  </a:cubicBezTo>
                  <a:cubicBezTo>
                    <a:pt x="4062" y="1312"/>
                    <a:pt x="3906" y="1031"/>
                    <a:pt x="3656" y="750"/>
                  </a:cubicBezTo>
                  <a:cubicBezTo>
                    <a:pt x="3281" y="375"/>
                    <a:pt x="2656" y="187"/>
                    <a:pt x="2094" y="187"/>
                  </a:cubicBezTo>
                  <a:cubicBezTo>
                    <a:pt x="1562" y="187"/>
                    <a:pt x="1094" y="343"/>
                    <a:pt x="719" y="62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pic>
        <p:nvPicPr>
          <p:cNvPr id="20" name="Graphic 19" descr="Person with idea with solid fill">
            <a:extLst>
              <a:ext uri="{FF2B5EF4-FFF2-40B4-BE49-F238E27FC236}">
                <a16:creationId xmlns:a16="http://schemas.microsoft.com/office/drawing/2014/main" id="{0DA755CA-09F5-48BD-9D92-48A2F62FD1D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81325" y="5444567"/>
            <a:ext cx="914400" cy="914400"/>
          </a:xfrm>
          <a:prstGeom prst="rect">
            <a:avLst/>
          </a:prstGeom>
        </p:spPr>
      </p:pic>
      <p:sp>
        <p:nvSpPr>
          <p:cNvPr id="25" name="Oval 24">
            <a:extLst>
              <a:ext uri="{FF2B5EF4-FFF2-40B4-BE49-F238E27FC236}">
                <a16:creationId xmlns:a16="http://schemas.microsoft.com/office/drawing/2014/main" id="{0E94AFBB-77BD-449E-8F1A-CEFA5A6E4981}"/>
              </a:ext>
            </a:extLst>
          </p:cNvPr>
          <p:cNvSpPr/>
          <p:nvPr/>
        </p:nvSpPr>
        <p:spPr>
          <a:xfrm>
            <a:off x="10818986" y="36609"/>
            <a:ext cx="148708" cy="148708"/>
          </a:xfrm>
          <a:prstGeom prst="ellipse">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95C5C9"/>
              </a:solidFill>
              <a:effectLst/>
              <a:uLnTx/>
              <a:uFillTx/>
              <a:latin typeface="Corbel" panose="020B0503020204020204" pitchFamily="34" charset="0"/>
              <a:ea typeface="+mn-ea"/>
              <a:cs typeface="+mn-cs"/>
            </a:endParaRPr>
          </a:p>
        </p:txBody>
      </p:sp>
      <p:sp>
        <p:nvSpPr>
          <p:cNvPr id="26" name="TextBox 25">
            <a:extLst>
              <a:ext uri="{FF2B5EF4-FFF2-40B4-BE49-F238E27FC236}">
                <a16:creationId xmlns:a16="http://schemas.microsoft.com/office/drawing/2014/main" id="{24B62848-AF74-4C08-9E13-57E07A3352C9}"/>
              </a:ext>
            </a:extLst>
          </p:cNvPr>
          <p:cNvSpPr txBox="1"/>
          <p:nvPr/>
        </p:nvSpPr>
        <p:spPr>
          <a:xfrm>
            <a:off x="10067055"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1</a:t>
            </a:r>
            <a:endParaRPr lang="nl-NL" noProof="0" dirty="0">
              <a:solidFill>
                <a:srgbClr val="95C5C9"/>
              </a:solidFill>
            </a:endParaRPr>
          </a:p>
        </p:txBody>
      </p:sp>
      <p:sp>
        <p:nvSpPr>
          <p:cNvPr id="27" name="TextBox 26">
            <a:extLst>
              <a:ext uri="{FF2B5EF4-FFF2-40B4-BE49-F238E27FC236}">
                <a16:creationId xmlns:a16="http://schemas.microsoft.com/office/drawing/2014/main" id="{F7F677B1-1BD3-4DBB-ACDD-29751F919DA2}"/>
              </a:ext>
            </a:extLst>
          </p:cNvPr>
          <p:cNvSpPr txBox="1"/>
          <p:nvPr/>
        </p:nvSpPr>
        <p:spPr>
          <a:xfrm>
            <a:off x="10256482"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2</a:t>
            </a:r>
          </a:p>
        </p:txBody>
      </p:sp>
      <p:sp>
        <p:nvSpPr>
          <p:cNvPr id="28" name="TextBox 27">
            <a:extLst>
              <a:ext uri="{FF2B5EF4-FFF2-40B4-BE49-F238E27FC236}">
                <a16:creationId xmlns:a16="http://schemas.microsoft.com/office/drawing/2014/main" id="{BB53BC50-F134-4F61-B068-955AB05190A5}"/>
              </a:ext>
            </a:extLst>
          </p:cNvPr>
          <p:cNvSpPr txBox="1"/>
          <p:nvPr/>
        </p:nvSpPr>
        <p:spPr>
          <a:xfrm>
            <a:off x="10445909"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3</a:t>
            </a:r>
          </a:p>
        </p:txBody>
      </p:sp>
      <p:sp>
        <p:nvSpPr>
          <p:cNvPr id="29" name="TextBox 28">
            <a:extLst>
              <a:ext uri="{FF2B5EF4-FFF2-40B4-BE49-F238E27FC236}">
                <a16:creationId xmlns:a16="http://schemas.microsoft.com/office/drawing/2014/main" id="{B18D402D-4BF1-4465-BD57-F1B826D919CE}"/>
              </a:ext>
            </a:extLst>
          </p:cNvPr>
          <p:cNvSpPr txBox="1"/>
          <p:nvPr/>
        </p:nvSpPr>
        <p:spPr>
          <a:xfrm>
            <a:off x="10635336"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4</a:t>
            </a:r>
            <a:endParaRPr lang="nl-NL" noProof="0" dirty="0">
              <a:solidFill>
                <a:srgbClr val="95C5C9"/>
              </a:solidFill>
            </a:endParaRPr>
          </a:p>
        </p:txBody>
      </p:sp>
      <p:sp>
        <p:nvSpPr>
          <p:cNvPr id="30" name="TextBox 29">
            <a:extLst>
              <a:ext uri="{FF2B5EF4-FFF2-40B4-BE49-F238E27FC236}">
                <a16:creationId xmlns:a16="http://schemas.microsoft.com/office/drawing/2014/main" id="{5BEECE22-DE73-4513-9277-B2C074ED5950}"/>
              </a:ext>
            </a:extLst>
          </p:cNvPr>
          <p:cNvSpPr txBox="1"/>
          <p:nvPr/>
        </p:nvSpPr>
        <p:spPr>
          <a:xfrm>
            <a:off x="10824763" y="40328"/>
            <a:ext cx="137154" cy="141270"/>
          </a:xfrm>
          <a:prstGeom prst="rect">
            <a:avLst/>
          </a:prstGeom>
        </p:spPr>
        <p:txBody>
          <a:bodyPr vert="horz" wrap="square" lIns="0" tIns="0" rIns="0" bIns="0" rtlCol="0" anchor="ctr">
            <a:noAutofit/>
          </a:bodyPr>
          <a:lstStyle/>
          <a:p>
            <a:pPr marL="0" indent="0" algn="ctr">
              <a:buNone/>
            </a:pPr>
            <a:r>
              <a:rPr lang="nl-NL" sz="1000" b="1" dirty="0">
                <a:solidFill>
                  <a:srgbClr val="95C5C9"/>
                </a:solidFill>
              </a:rPr>
              <a:t>5</a:t>
            </a:r>
            <a:endParaRPr lang="nl-NL" sz="1000" b="1" noProof="0" dirty="0">
              <a:solidFill>
                <a:srgbClr val="95C5C9"/>
              </a:solidFill>
            </a:endParaRPr>
          </a:p>
        </p:txBody>
      </p:sp>
      <p:sp>
        <p:nvSpPr>
          <p:cNvPr id="31" name="TextBox 30">
            <a:extLst>
              <a:ext uri="{FF2B5EF4-FFF2-40B4-BE49-F238E27FC236}">
                <a16:creationId xmlns:a16="http://schemas.microsoft.com/office/drawing/2014/main" id="{0F556775-5B5E-4264-BE81-CD06B81047BF}"/>
              </a:ext>
            </a:extLst>
          </p:cNvPr>
          <p:cNvSpPr txBox="1"/>
          <p:nvPr/>
        </p:nvSpPr>
        <p:spPr>
          <a:xfrm>
            <a:off x="11014190"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6</a:t>
            </a:r>
          </a:p>
        </p:txBody>
      </p:sp>
      <p:sp>
        <p:nvSpPr>
          <p:cNvPr id="32" name="TextBox 31">
            <a:extLst>
              <a:ext uri="{FF2B5EF4-FFF2-40B4-BE49-F238E27FC236}">
                <a16:creationId xmlns:a16="http://schemas.microsoft.com/office/drawing/2014/main" id="{0E1DC647-02DE-4B8E-A801-CFD37C21D234}"/>
              </a:ext>
            </a:extLst>
          </p:cNvPr>
          <p:cNvSpPr txBox="1"/>
          <p:nvPr/>
        </p:nvSpPr>
        <p:spPr>
          <a:xfrm>
            <a:off x="11203617"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7</a:t>
            </a:r>
            <a:endParaRPr lang="nl-NL" sz="1000" noProof="0" dirty="0">
              <a:solidFill>
                <a:srgbClr val="95C5C9"/>
              </a:solidFill>
            </a:endParaRPr>
          </a:p>
        </p:txBody>
      </p:sp>
    </p:spTree>
    <p:extLst>
      <p:ext uri="{BB962C8B-B14F-4D97-AF65-F5344CB8AC3E}">
        <p14:creationId xmlns:p14="http://schemas.microsoft.com/office/powerpoint/2010/main" val="42613135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ABE98B0-3C8A-43C8-8200-5975A1E67A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62"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CABE98B0-3C8A-43C8-8200-5975A1E67A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1442" name="Picture 2">
            <a:extLst>
              <a:ext uri="{FF2B5EF4-FFF2-40B4-BE49-F238E27FC236}">
                <a16:creationId xmlns:a16="http://schemas.microsoft.com/office/drawing/2014/main" id="{F31421FC-687C-4775-BBCA-9AC90E0C78E6}"/>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D85439E5-6E0C-4BFB-9E2A-FA280E638BDE}"/>
              </a:ext>
            </a:extLst>
          </p:cNvPr>
          <p:cNvSpPr/>
          <p:nvPr/>
        </p:nvSpPr>
        <p:spPr>
          <a:xfrm>
            <a:off x="0" y="-2"/>
            <a:ext cx="12192000" cy="6858001"/>
          </a:xfrm>
          <a:prstGeom prst="rect">
            <a:avLst/>
          </a:prstGeom>
          <a:solidFill>
            <a:schemeClr val="bg1">
              <a:lumMod val="95000"/>
              <a:alpha val="84000"/>
            </a:schemeClr>
          </a:solidFill>
          <a:ln>
            <a:noFill/>
          </a:ln>
        </p:spPr>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0" indent="0">
              <a:lnSpc>
                <a:spcPct val="100000"/>
              </a:lnSpc>
              <a:buNone/>
            </a:pPr>
            <a:r>
              <a:rPr lang="nl-NL" sz="4400" b="1" dirty="0">
                <a:solidFill>
                  <a:srgbClr val="22777B"/>
                </a:solidFill>
              </a:rPr>
              <a:t>Vraag 5</a:t>
            </a:r>
          </a:p>
          <a:p>
            <a:pPr marL="0" indent="0">
              <a:lnSpc>
                <a:spcPct val="100000"/>
              </a:lnSpc>
              <a:buNone/>
            </a:pPr>
            <a:br>
              <a:rPr lang="nl-NL" sz="2400" dirty="0"/>
            </a:br>
            <a:r>
              <a:rPr lang="nl-NL" sz="2400" dirty="0"/>
              <a:t>Het is goed om stil te staan bij het feit dat in Amsterdam relatief veel jonge startende leraren werken, dit is relevant voor de problematiek. Veel van deze jonge leraren trekken namelijk op een gegeven moment de stad uit. Verwacht wordt dat het niet mogelijk is om deze groep op de lange termijn te behouden, maar dat er wel maatregelen te verzinnen zijn om hen wat langer te laten blijven. </a:t>
            </a:r>
          </a:p>
          <a:p>
            <a:pPr marL="0" indent="0">
              <a:lnSpc>
                <a:spcPct val="100000"/>
              </a:lnSpc>
              <a:buNone/>
            </a:pPr>
            <a:r>
              <a:rPr lang="nl-NL" sz="2400" dirty="0"/>
              <a:t>Kun jij een inschatting maken hoeveel extra leraren er in Amsterdam zouden werken wanneer jonge leraren twee jaar later uit de stad trekken om elders te gaan wonen en werken? Je kunt hierbij aannemen dat er op dit moment ongeveer 4.500 leraren in Amsterdam werken.</a:t>
            </a:r>
          </a:p>
          <a:p>
            <a:pPr marL="0" indent="0">
              <a:lnSpc>
                <a:spcPct val="100000"/>
              </a:lnSpc>
              <a:buNone/>
            </a:pPr>
            <a:endParaRPr lang="nl-NL" sz="2400" dirty="0"/>
          </a:p>
          <a:p>
            <a:pPr marL="0" indent="0">
              <a:lnSpc>
                <a:spcPct val="100000"/>
              </a:lnSpc>
              <a:buNone/>
            </a:pPr>
            <a:endParaRPr lang="nl-NL" sz="2400" dirty="0">
              <a:solidFill>
                <a:srgbClr val="FFFFFF"/>
              </a:solidFill>
            </a:endParaRPr>
          </a:p>
        </p:txBody>
      </p:sp>
      <p:grpSp>
        <p:nvGrpSpPr>
          <p:cNvPr id="21" name="Group 20">
            <a:extLst>
              <a:ext uri="{FF2B5EF4-FFF2-40B4-BE49-F238E27FC236}">
                <a16:creationId xmlns:a16="http://schemas.microsoft.com/office/drawing/2014/main" id="{C5578B65-C922-42B5-B58E-017E05320628}"/>
              </a:ext>
            </a:extLst>
          </p:cNvPr>
          <p:cNvGrpSpPr/>
          <p:nvPr/>
        </p:nvGrpSpPr>
        <p:grpSpPr>
          <a:xfrm>
            <a:off x="2192835" y="237963"/>
            <a:ext cx="736493" cy="508712"/>
            <a:chOff x="2836863" y="3201988"/>
            <a:chExt cx="2001837" cy="1382712"/>
          </a:xfrm>
          <a:solidFill>
            <a:schemeClr val="tx2"/>
          </a:solidFill>
        </p:grpSpPr>
        <p:sp>
          <p:nvSpPr>
            <p:cNvPr id="22" name="Freeform 1">
              <a:extLst>
                <a:ext uri="{FF2B5EF4-FFF2-40B4-BE49-F238E27FC236}">
                  <a16:creationId xmlns:a16="http://schemas.microsoft.com/office/drawing/2014/main" id="{3B7896AF-670D-49F2-865F-D697DA861715}"/>
                </a:ext>
              </a:extLst>
            </p:cNvPr>
            <p:cNvSpPr>
              <a:spLocks noChangeArrowheads="1"/>
            </p:cNvSpPr>
            <p:nvPr/>
          </p:nvSpPr>
          <p:spPr bwMode="auto">
            <a:xfrm>
              <a:off x="2870200" y="3246438"/>
              <a:ext cx="1450975" cy="1247775"/>
            </a:xfrm>
            <a:custGeom>
              <a:avLst/>
              <a:gdLst>
                <a:gd name="T0" fmla="*/ 3625 w 4032"/>
                <a:gd name="T1" fmla="*/ 593 h 3468"/>
                <a:gd name="T2" fmla="*/ 3625 w 4032"/>
                <a:gd name="T3" fmla="*/ 593 h 3468"/>
                <a:gd name="T4" fmla="*/ 2000 w 4032"/>
                <a:gd name="T5" fmla="*/ 0 h 3468"/>
                <a:gd name="T6" fmla="*/ 593 w 4032"/>
                <a:gd name="T7" fmla="*/ 468 h 3468"/>
                <a:gd name="T8" fmla="*/ 593 w 4032"/>
                <a:gd name="T9" fmla="*/ 468 h 3468"/>
                <a:gd name="T10" fmla="*/ 31 w 4032"/>
                <a:gd name="T11" fmla="*/ 1531 h 3468"/>
                <a:gd name="T12" fmla="*/ 593 w 4032"/>
                <a:gd name="T13" fmla="*/ 2592 h 3468"/>
                <a:gd name="T14" fmla="*/ 500 w 4032"/>
                <a:gd name="T15" fmla="*/ 3374 h 3468"/>
                <a:gd name="T16" fmla="*/ 406 w 4032"/>
                <a:gd name="T17" fmla="*/ 3467 h 3468"/>
                <a:gd name="T18" fmla="*/ 531 w 4032"/>
                <a:gd name="T19" fmla="*/ 3467 h 3468"/>
                <a:gd name="T20" fmla="*/ 1343 w 4032"/>
                <a:gd name="T21" fmla="*/ 2967 h 3468"/>
                <a:gd name="T22" fmla="*/ 2093 w 4032"/>
                <a:gd name="T23" fmla="*/ 3030 h 3468"/>
                <a:gd name="T24" fmla="*/ 3531 w 4032"/>
                <a:gd name="T25" fmla="*/ 2592 h 3468"/>
                <a:gd name="T26" fmla="*/ 4031 w 4032"/>
                <a:gd name="T27" fmla="*/ 1531 h 3468"/>
                <a:gd name="T28" fmla="*/ 3625 w 4032"/>
                <a:gd name="T29" fmla="*/ 593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2" h="3468">
                  <a:moveTo>
                    <a:pt x="3625" y="593"/>
                  </a:moveTo>
                  <a:lnTo>
                    <a:pt x="3625" y="593"/>
                  </a:lnTo>
                  <a:cubicBezTo>
                    <a:pt x="3250" y="218"/>
                    <a:pt x="2625" y="0"/>
                    <a:pt x="2000" y="0"/>
                  </a:cubicBezTo>
                  <a:cubicBezTo>
                    <a:pt x="1468" y="0"/>
                    <a:pt x="1000" y="156"/>
                    <a:pt x="593" y="468"/>
                  </a:cubicBezTo>
                  <a:lnTo>
                    <a:pt x="593" y="468"/>
                  </a:lnTo>
                  <a:cubicBezTo>
                    <a:pt x="218" y="781"/>
                    <a:pt x="0" y="1156"/>
                    <a:pt x="31" y="1531"/>
                  </a:cubicBezTo>
                  <a:cubicBezTo>
                    <a:pt x="62" y="2217"/>
                    <a:pt x="500" y="2530"/>
                    <a:pt x="593" y="2592"/>
                  </a:cubicBezTo>
                  <a:cubicBezTo>
                    <a:pt x="625" y="2717"/>
                    <a:pt x="687" y="3092"/>
                    <a:pt x="500" y="3374"/>
                  </a:cubicBezTo>
                  <a:cubicBezTo>
                    <a:pt x="406" y="3467"/>
                    <a:pt x="406" y="3467"/>
                    <a:pt x="406" y="3467"/>
                  </a:cubicBezTo>
                  <a:cubicBezTo>
                    <a:pt x="531" y="3467"/>
                    <a:pt x="531" y="3467"/>
                    <a:pt x="531" y="3467"/>
                  </a:cubicBezTo>
                  <a:cubicBezTo>
                    <a:pt x="1000" y="3436"/>
                    <a:pt x="1281" y="3092"/>
                    <a:pt x="1343" y="2967"/>
                  </a:cubicBezTo>
                  <a:cubicBezTo>
                    <a:pt x="1437" y="2999"/>
                    <a:pt x="1718" y="3061"/>
                    <a:pt x="2093" y="3030"/>
                  </a:cubicBezTo>
                  <a:cubicBezTo>
                    <a:pt x="2656" y="3030"/>
                    <a:pt x="3156" y="2874"/>
                    <a:pt x="3531" y="2592"/>
                  </a:cubicBezTo>
                  <a:cubicBezTo>
                    <a:pt x="3843" y="2280"/>
                    <a:pt x="4031" y="1905"/>
                    <a:pt x="4031" y="1531"/>
                  </a:cubicBezTo>
                  <a:cubicBezTo>
                    <a:pt x="4031" y="1218"/>
                    <a:pt x="3906" y="906"/>
                    <a:pt x="3625" y="5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3" name="Freeform 2">
              <a:extLst>
                <a:ext uri="{FF2B5EF4-FFF2-40B4-BE49-F238E27FC236}">
                  <a16:creationId xmlns:a16="http://schemas.microsoft.com/office/drawing/2014/main" id="{CAD3F577-FAD4-4169-913E-31809A4FFBDC}"/>
                </a:ext>
              </a:extLst>
            </p:cNvPr>
            <p:cNvSpPr>
              <a:spLocks noChangeArrowheads="1"/>
            </p:cNvSpPr>
            <p:nvPr/>
          </p:nvSpPr>
          <p:spPr bwMode="auto">
            <a:xfrm>
              <a:off x="3983038" y="3201988"/>
              <a:ext cx="855662" cy="1338262"/>
            </a:xfrm>
            <a:custGeom>
              <a:avLst/>
              <a:gdLst>
                <a:gd name="T0" fmla="*/ 1781 w 2376"/>
                <a:gd name="T1" fmla="*/ 2811 h 3718"/>
                <a:gd name="T2" fmla="*/ 1781 w 2376"/>
                <a:gd name="T3" fmla="*/ 2811 h 3718"/>
                <a:gd name="T4" fmla="*/ 2375 w 2376"/>
                <a:gd name="T5" fmla="*/ 1687 h 3718"/>
                <a:gd name="T6" fmla="*/ 1750 w 2376"/>
                <a:gd name="T7" fmla="*/ 500 h 3718"/>
                <a:gd name="T8" fmla="*/ 282 w 2376"/>
                <a:gd name="T9" fmla="*/ 0 h 3718"/>
                <a:gd name="T10" fmla="*/ 0 w 2376"/>
                <a:gd name="T11" fmla="*/ 31 h 3718"/>
                <a:gd name="T12" fmla="*/ 782 w 2376"/>
                <a:gd name="T13" fmla="*/ 531 h 3718"/>
                <a:gd name="T14" fmla="*/ 1250 w 2376"/>
                <a:gd name="T15" fmla="*/ 1656 h 3718"/>
                <a:gd name="T16" fmla="*/ 625 w 2376"/>
                <a:gd name="T17" fmla="*/ 2905 h 3718"/>
                <a:gd name="T18" fmla="*/ 0 w 2376"/>
                <a:gd name="T19" fmla="*/ 3280 h 3718"/>
                <a:gd name="T20" fmla="*/ 875 w 2376"/>
                <a:gd name="T21" fmla="*/ 3249 h 3718"/>
                <a:gd name="T22" fmla="*/ 1938 w 2376"/>
                <a:gd name="T23" fmla="*/ 3717 h 3718"/>
                <a:gd name="T24" fmla="*/ 2219 w 2376"/>
                <a:gd name="T25" fmla="*/ 3717 h 3718"/>
                <a:gd name="T26" fmla="*/ 2032 w 2376"/>
                <a:gd name="T27" fmla="*/ 3530 h 3718"/>
                <a:gd name="T28" fmla="*/ 1781 w 2376"/>
                <a:gd name="T29" fmla="*/ 2811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6" h="3718">
                  <a:moveTo>
                    <a:pt x="1781" y="2811"/>
                  </a:moveTo>
                  <a:lnTo>
                    <a:pt x="1781" y="2811"/>
                  </a:lnTo>
                  <a:cubicBezTo>
                    <a:pt x="2157" y="2499"/>
                    <a:pt x="2375" y="2092"/>
                    <a:pt x="2375" y="1687"/>
                  </a:cubicBezTo>
                  <a:cubicBezTo>
                    <a:pt x="2375" y="1218"/>
                    <a:pt x="2188" y="812"/>
                    <a:pt x="1750" y="500"/>
                  </a:cubicBezTo>
                  <a:cubicBezTo>
                    <a:pt x="1344" y="187"/>
                    <a:pt x="844" y="0"/>
                    <a:pt x="282" y="0"/>
                  </a:cubicBezTo>
                  <a:cubicBezTo>
                    <a:pt x="188" y="0"/>
                    <a:pt x="94" y="0"/>
                    <a:pt x="0" y="31"/>
                  </a:cubicBezTo>
                  <a:cubicBezTo>
                    <a:pt x="282" y="125"/>
                    <a:pt x="563" y="312"/>
                    <a:pt x="782" y="531"/>
                  </a:cubicBezTo>
                  <a:cubicBezTo>
                    <a:pt x="1094" y="843"/>
                    <a:pt x="1250" y="1218"/>
                    <a:pt x="1250" y="1656"/>
                  </a:cubicBezTo>
                  <a:cubicBezTo>
                    <a:pt x="1250" y="2124"/>
                    <a:pt x="1032" y="2592"/>
                    <a:pt x="625" y="2905"/>
                  </a:cubicBezTo>
                  <a:cubicBezTo>
                    <a:pt x="438" y="3061"/>
                    <a:pt x="219" y="3186"/>
                    <a:pt x="0" y="3280"/>
                  </a:cubicBezTo>
                  <a:cubicBezTo>
                    <a:pt x="282" y="3311"/>
                    <a:pt x="563" y="3280"/>
                    <a:pt x="875" y="3249"/>
                  </a:cubicBezTo>
                  <a:cubicBezTo>
                    <a:pt x="1125" y="3561"/>
                    <a:pt x="1469" y="3717"/>
                    <a:pt x="1938" y="3717"/>
                  </a:cubicBezTo>
                  <a:cubicBezTo>
                    <a:pt x="2219" y="3717"/>
                    <a:pt x="2219" y="3717"/>
                    <a:pt x="2219" y="3717"/>
                  </a:cubicBezTo>
                  <a:cubicBezTo>
                    <a:pt x="2032" y="3530"/>
                    <a:pt x="2032" y="3530"/>
                    <a:pt x="2032" y="3530"/>
                  </a:cubicBezTo>
                  <a:cubicBezTo>
                    <a:pt x="1813" y="3311"/>
                    <a:pt x="1750" y="3092"/>
                    <a:pt x="1781" y="28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4" name="Freeform 3">
              <a:extLst>
                <a:ext uri="{FF2B5EF4-FFF2-40B4-BE49-F238E27FC236}">
                  <a16:creationId xmlns:a16="http://schemas.microsoft.com/office/drawing/2014/main" id="{8EDCAE06-9FA2-4B47-B181-6930B4A19E56}"/>
                </a:ext>
              </a:extLst>
            </p:cNvPr>
            <p:cNvSpPr>
              <a:spLocks noChangeArrowheads="1"/>
            </p:cNvSpPr>
            <p:nvPr/>
          </p:nvSpPr>
          <p:spPr bwMode="auto">
            <a:xfrm>
              <a:off x="2836863" y="3201988"/>
              <a:ext cx="1530350" cy="1382712"/>
            </a:xfrm>
            <a:custGeom>
              <a:avLst/>
              <a:gdLst>
                <a:gd name="T0" fmla="*/ 219 w 4251"/>
                <a:gd name="T1" fmla="*/ 3717 h 3843"/>
                <a:gd name="T2" fmla="*/ 219 w 4251"/>
                <a:gd name="T3" fmla="*/ 3717 h 3843"/>
                <a:gd name="T4" fmla="*/ 594 w 4251"/>
                <a:gd name="T5" fmla="*/ 2811 h 3843"/>
                <a:gd name="T6" fmla="*/ 0 w 4251"/>
                <a:gd name="T7" fmla="*/ 1656 h 3843"/>
                <a:gd name="T8" fmla="*/ 625 w 4251"/>
                <a:gd name="T9" fmla="*/ 500 h 3843"/>
                <a:gd name="T10" fmla="*/ 2094 w 4251"/>
                <a:gd name="T11" fmla="*/ 0 h 3843"/>
                <a:gd name="T12" fmla="*/ 2094 w 4251"/>
                <a:gd name="T13" fmla="*/ 0 h 3843"/>
                <a:gd name="T14" fmla="*/ 3781 w 4251"/>
                <a:gd name="T15" fmla="*/ 625 h 3843"/>
                <a:gd name="T16" fmla="*/ 4250 w 4251"/>
                <a:gd name="T17" fmla="*/ 1656 h 3843"/>
                <a:gd name="T18" fmla="*/ 3656 w 4251"/>
                <a:gd name="T19" fmla="*/ 2780 h 3843"/>
                <a:gd name="T20" fmla="*/ 1469 w 4251"/>
                <a:gd name="T21" fmla="*/ 3217 h 3843"/>
                <a:gd name="T22" fmla="*/ 219 w 4251"/>
                <a:gd name="T23" fmla="*/ 3717 h 3843"/>
                <a:gd name="T24" fmla="*/ 719 w 4251"/>
                <a:gd name="T25" fmla="*/ 625 h 3843"/>
                <a:gd name="T26" fmla="*/ 719 w 4251"/>
                <a:gd name="T27" fmla="*/ 625 h 3843"/>
                <a:gd name="T28" fmla="*/ 187 w 4251"/>
                <a:gd name="T29" fmla="*/ 1656 h 3843"/>
                <a:gd name="T30" fmla="*/ 750 w 4251"/>
                <a:gd name="T31" fmla="*/ 2686 h 3843"/>
                <a:gd name="T32" fmla="*/ 625 w 4251"/>
                <a:gd name="T33" fmla="*/ 3530 h 3843"/>
                <a:gd name="T34" fmla="*/ 1406 w 4251"/>
                <a:gd name="T35" fmla="*/ 3030 h 3843"/>
                <a:gd name="T36" fmla="*/ 3562 w 4251"/>
                <a:gd name="T37" fmla="*/ 2655 h 3843"/>
                <a:gd name="T38" fmla="*/ 4062 w 4251"/>
                <a:gd name="T39" fmla="*/ 1656 h 3843"/>
                <a:gd name="T40" fmla="*/ 3656 w 4251"/>
                <a:gd name="T41" fmla="*/ 750 h 3843"/>
                <a:gd name="T42" fmla="*/ 2094 w 4251"/>
                <a:gd name="T43" fmla="*/ 187 h 3843"/>
                <a:gd name="T44" fmla="*/ 719 w 4251"/>
                <a:gd name="T45" fmla="*/ 625 h 3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51" h="3843">
                  <a:moveTo>
                    <a:pt x="219" y="3717"/>
                  </a:moveTo>
                  <a:lnTo>
                    <a:pt x="219" y="3717"/>
                  </a:lnTo>
                  <a:cubicBezTo>
                    <a:pt x="219" y="3717"/>
                    <a:pt x="656" y="3342"/>
                    <a:pt x="594" y="2811"/>
                  </a:cubicBezTo>
                  <a:cubicBezTo>
                    <a:pt x="219" y="2499"/>
                    <a:pt x="0" y="2092"/>
                    <a:pt x="0" y="1656"/>
                  </a:cubicBezTo>
                  <a:cubicBezTo>
                    <a:pt x="0" y="1218"/>
                    <a:pt x="219" y="812"/>
                    <a:pt x="625" y="500"/>
                  </a:cubicBezTo>
                  <a:cubicBezTo>
                    <a:pt x="1031" y="187"/>
                    <a:pt x="1531" y="0"/>
                    <a:pt x="2094" y="0"/>
                  </a:cubicBezTo>
                  <a:lnTo>
                    <a:pt x="2094" y="0"/>
                  </a:lnTo>
                  <a:cubicBezTo>
                    <a:pt x="2781" y="0"/>
                    <a:pt x="3375" y="218"/>
                    <a:pt x="3781" y="625"/>
                  </a:cubicBezTo>
                  <a:cubicBezTo>
                    <a:pt x="4094" y="937"/>
                    <a:pt x="4250" y="1281"/>
                    <a:pt x="4250" y="1656"/>
                  </a:cubicBezTo>
                  <a:cubicBezTo>
                    <a:pt x="4250" y="2092"/>
                    <a:pt x="4031" y="2499"/>
                    <a:pt x="3656" y="2780"/>
                  </a:cubicBezTo>
                  <a:cubicBezTo>
                    <a:pt x="3125" y="3217"/>
                    <a:pt x="2344" y="3374"/>
                    <a:pt x="1469" y="3217"/>
                  </a:cubicBezTo>
                  <a:cubicBezTo>
                    <a:pt x="1125" y="3842"/>
                    <a:pt x="219" y="3717"/>
                    <a:pt x="219" y="3717"/>
                  </a:cubicBezTo>
                  <a:close/>
                  <a:moveTo>
                    <a:pt x="719" y="625"/>
                  </a:moveTo>
                  <a:lnTo>
                    <a:pt x="719" y="625"/>
                  </a:lnTo>
                  <a:cubicBezTo>
                    <a:pt x="375" y="906"/>
                    <a:pt x="156" y="1281"/>
                    <a:pt x="187" y="1656"/>
                  </a:cubicBezTo>
                  <a:cubicBezTo>
                    <a:pt x="219" y="2374"/>
                    <a:pt x="750" y="2686"/>
                    <a:pt x="750" y="2686"/>
                  </a:cubicBezTo>
                  <a:cubicBezTo>
                    <a:pt x="750" y="2686"/>
                    <a:pt x="875" y="3186"/>
                    <a:pt x="625" y="3530"/>
                  </a:cubicBezTo>
                  <a:cubicBezTo>
                    <a:pt x="1125" y="3499"/>
                    <a:pt x="1406" y="3030"/>
                    <a:pt x="1406" y="3030"/>
                  </a:cubicBezTo>
                  <a:cubicBezTo>
                    <a:pt x="1406" y="3030"/>
                    <a:pt x="2719" y="3342"/>
                    <a:pt x="3562" y="2655"/>
                  </a:cubicBezTo>
                  <a:cubicBezTo>
                    <a:pt x="3875" y="2374"/>
                    <a:pt x="4062" y="2030"/>
                    <a:pt x="4062" y="1656"/>
                  </a:cubicBezTo>
                  <a:cubicBezTo>
                    <a:pt x="4062" y="1312"/>
                    <a:pt x="3906" y="1031"/>
                    <a:pt x="3656" y="750"/>
                  </a:cubicBezTo>
                  <a:cubicBezTo>
                    <a:pt x="3281" y="375"/>
                    <a:pt x="2656" y="187"/>
                    <a:pt x="2094" y="187"/>
                  </a:cubicBezTo>
                  <a:cubicBezTo>
                    <a:pt x="1562" y="187"/>
                    <a:pt x="1094" y="343"/>
                    <a:pt x="719" y="62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pic>
        <p:nvPicPr>
          <p:cNvPr id="20" name="Graphic 19" descr="Person with idea with solid fill">
            <a:extLst>
              <a:ext uri="{FF2B5EF4-FFF2-40B4-BE49-F238E27FC236}">
                <a16:creationId xmlns:a16="http://schemas.microsoft.com/office/drawing/2014/main" id="{0DA755CA-09F5-48BD-9D92-48A2F62FD1D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81325" y="5444567"/>
            <a:ext cx="914400" cy="914400"/>
          </a:xfrm>
          <a:prstGeom prst="rect">
            <a:avLst/>
          </a:prstGeom>
        </p:spPr>
      </p:pic>
      <p:sp>
        <p:nvSpPr>
          <p:cNvPr id="26" name="Rectangle 25">
            <a:extLst>
              <a:ext uri="{FF2B5EF4-FFF2-40B4-BE49-F238E27FC236}">
                <a16:creationId xmlns:a16="http://schemas.microsoft.com/office/drawing/2014/main" id="{B0708F81-3C0E-4EE0-916B-BEB9A4366B72}"/>
              </a:ext>
            </a:extLst>
          </p:cNvPr>
          <p:cNvSpPr/>
          <p:nvPr/>
        </p:nvSpPr>
        <p:spPr>
          <a:xfrm>
            <a:off x="0" y="5327788"/>
            <a:ext cx="12192000" cy="1147958"/>
          </a:xfrm>
          <a:prstGeom prst="rect">
            <a:avLst/>
          </a:prstGeom>
          <a:solidFill>
            <a:schemeClr val="bg1"/>
          </a:solidFill>
          <a:ln w="28575">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Clr>
                <a:schemeClr val="tx2"/>
              </a:buClr>
              <a:buNone/>
            </a:pP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27" name="Graphic 26" descr="Person with idea with solid fill">
            <a:extLst>
              <a:ext uri="{FF2B5EF4-FFF2-40B4-BE49-F238E27FC236}">
                <a16:creationId xmlns:a16="http://schemas.microsoft.com/office/drawing/2014/main" id="{E555AC54-8B7F-4286-B22F-2BB4DCDC00E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581325" y="5444567"/>
            <a:ext cx="914400" cy="914400"/>
          </a:xfrm>
          <a:prstGeom prst="rect">
            <a:avLst/>
          </a:prstGeom>
        </p:spPr>
      </p:pic>
      <p:sp>
        <p:nvSpPr>
          <p:cNvPr id="28" name="TextBox 27">
            <a:extLst>
              <a:ext uri="{FF2B5EF4-FFF2-40B4-BE49-F238E27FC236}">
                <a16:creationId xmlns:a16="http://schemas.microsoft.com/office/drawing/2014/main" id="{C2E311CA-445A-4140-98E0-C08FF3921E78}"/>
              </a:ext>
            </a:extLst>
          </p:cNvPr>
          <p:cNvSpPr txBox="1"/>
          <p:nvPr/>
        </p:nvSpPr>
        <p:spPr>
          <a:xfrm>
            <a:off x="2755864" y="5340942"/>
            <a:ext cx="8395480" cy="1121652"/>
          </a:xfrm>
          <a:prstGeom prst="rect">
            <a:avLst/>
          </a:prstGeom>
        </p:spPr>
        <p:txBody>
          <a:bodyPr vert="horz" wrap="square" lIns="91440" tIns="45720" rIns="91440" bIns="45720" rtlCol="0" anchor="ctr">
            <a:noAutofit/>
          </a:bodyPr>
          <a:lstStyle/>
          <a:p>
            <a:pPr marL="0" indent="0" algn="l">
              <a:buNone/>
            </a:pPr>
            <a:r>
              <a:rPr lang="nl-NL" sz="1800" b="1" i="1" noProof="0" dirty="0"/>
              <a:t>Hint: </a:t>
            </a:r>
            <a:r>
              <a:rPr lang="nl-NL" sz="1800" b="1" dirty="0"/>
              <a:t>Maak eerst een schatting van het aantal leraren dat elk jaar uitstroomt in Amsterdam, op basis van het totaal aantal leraren in Amsterdam. Redeneer vanuit hier hoeveel jonge leraren dan per jaar de stad verlaten. Maak simpele aannames om tot jouw antwoord op de vraag te komen.</a:t>
            </a:r>
          </a:p>
        </p:txBody>
      </p:sp>
      <p:sp>
        <p:nvSpPr>
          <p:cNvPr id="25" name="Oval 24">
            <a:extLst>
              <a:ext uri="{FF2B5EF4-FFF2-40B4-BE49-F238E27FC236}">
                <a16:creationId xmlns:a16="http://schemas.microsoft.com/office/drawing/2014/main" id="{4E48C0C3-5595-4A22-8482-C696A3B74FC1}"/>
              </a:ext>
            </a:extLst>
          </p:cNvPr>
          <p:cNvSpPr/>
          <p:nvPr/>
        </p:nvSpPr>
        <p:spPr>
          <a:xfrm>
            <a:off x="10818986" y="36609"/>
            <a:ext cx="148708" cy="148708"/>
          </a:xfrm>
          <a:prstGeom prst="ellipse">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95C5C9"/>
              </a:solidFill>
              <a:effectLst/>
              <a:uLnTx/>
              <a:uFillTx/>
              <a:latin typeface="Corbel" panose="020B0503020204020204" pitchFamily="34" charset="0"/>
              <a:ea typeface="+mn-ea"/>
              <a:cs typeface="+mn-cs"/>
            </a:endParaRPr>
          </a:p>
        </p:txBody>
      </p:sp>
      <p:sp>
        <p:nvSpPr>
          <p:cNvPr id="29" name="TextBox 28">
            <a:extLst>
              <a:ext uri="{FF2B5EF4-FFF2-40B4-BE49-F238E27FC236}">
                <a16:creationId xmlns:a16="http://schemas.microsoft.com/office/drawing/2014/main" id="{F65AD2BF-0FF5-4AB1-99C3-CCF60080F816}"/>
              </a:ext>
            </a:extLst>
          </p:cNvPr>
          <p:cNvSpPr txBox="1"/>
          <p:nvPr/>
        </p:nvSpPr>
        <p:spPr>
          <a:xfrm>
            <a:off x="10067055"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1</a:t>
            </a:r>
            <a:endParaRPr lang="nl-NL" noProof="0" dirty="0">
              <a:solidFill>
                <a:srgbClr val="95C5C9"/>
              </a:solidFill>
            </a:endParaRPr>
          </a:p>
        </p:txBody>
      </p:sp>
      <p:sp>
        <p:nvSpPr>
          <p:cNvPr id="30" name="TextBox 29">
            <a:extLst>
              <a:ext uri="{FF2B5EF4-FFF2-40B4-BE49-F238E27FC236}">
                <a16:creationId xmlns:a16="http://schemas.microsoft.com/office/drawing/2014/main" id="{7CF65332-F15E-4523-8D7D-571DC20B4FE0}"/>
              </a:ext>
            </a:extLst>
          </p:cNvPr>
          <p:cNvSpPr txBox="1"/>
          <p:nvPr/>
        </p:nvSpPr>
        <p:spPr>
          <a:xfrm>
            <a:off x="10256482"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2</a:t>
            </a:r>
          </a:p>
        </p:txBody>
      </p:sp>
      <p:sp>
        <p:nvSpPr>
          <p:cNvPr id="31" name="TextBox 30">
            <a:extLst>
              <a:ext uri="{FF2B5EF4-FFF2-40B4-BE49-F238E27FC236}">
                <a16:creationId xmlns:a16="http://schemas.microsoft.com/office/drawing/2014/main" id="{66AE9FE0-6163-4AF6-8F49-F7EB7CE2CBEA}"/>
              </a:ext>
            </a:extLst>
          </p:cNvPr>
          <p:cNvSpPr txBox="1"/>
          <p:nvPr/>
        </p:nvSpPr>
        <p:spPr>
          <a:xfrm>
            <a:off x="10445909"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3</a:t>
            </a:r>
          </a:p>
        </p:txBody>
      </p:sp>
      <p:sp>
        <p:nvSpPr>
          <p:cNvPr id="32" name="TextBox 31">
            <a:extLst>
              <a:ext uri="{FF2B5EF4-FFF2-40B4-BE49-F238E27FC236}">
                <a16:creationId xmlns:a16="http://schemas.microsoft.com/office/drawing/2014/main" id="{116A0F0F-8AAA-4B73-BA58-E08117FAE0CF}"/>
              </a:ext>
            </a:extLst>
          </p:cNvPr>
          <p:cNvSpPr txBox="1"/>
          <p:nvPr/>
        </p:nvSpPr>
        <p:spPr>
          <a:xfrm>
            <a:off x="10635336"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4</a:t>
            </a:r>
            <a:endParaRPr lang="nl-NL" noProof="0" dirty="0">
              <a:solidFill>
                <a:srgbClr val="95C5C9"/>
              </a:solidFill>
            </a:endParaRPr>
          </a:p>
        </p:txBody>
      </p:sp>
      <p:sp>
        <p:nvSpPr>
          <p:cNvPr id="33" name="TextBox 32">
            <a:extLst>
              <a:ext uri="{FF2B5EF4-FFF2-40B4-BE49-F238E27FC236}">
                <a16:creationId xmlns:a16="http://schemas.microsoft.com/office/drawing/2014/main" id="{AE570488-841A-4717-9313-D349AFDEFA82}"/>
              </a:ext>
            </a:extLst>
          </p:cNvPr>
          <p:cNvSpPr txBox="1"/>
          <p:nvPr/>
        </p:nvSpPr>
        <p:spPr>
          <a:xfrm>
            <a:off x="10824763" y="40328"/>
            <a:ext cx="137154" cy="141270"/>
          </a:xfrm>
          <a:prstGeom prst="rect">
            <a:avLst/>
          </a:prstGeom>
        </p:spPr>
        <p:txBody>
          <a:bodyPr vert="horz" wrap="square" lIns="0" tIns="0" rIns="0" bIns="0" rtlCol="0" anchor="ctr">
            <a:noAutofit/>
          </a:bodyPr>
          <a:lstStyle/>
          <a:p>
            <a:pPr marL="0" indent="0" algn="ctr">
              <a:buNone/>
            </a:pPr>
            <a:r>
              <a:rPr lang="nl-NL" sz="1000" b="1" dirty="0">
                <a:solidFill>
                  <a:srgbClr val="95C5C9"/>
                </a:solidFill>
              </a:rPr>
              <a:t>5</a:t>
            </a:r>
            <a:endParaRPr lang="nl-NL" sz="1000" b="1" noProof="0" dirty="0">
              <a:solidFill>
                <a:srgbClr val="95C5C9"/>
              </a:solidFill>
            </a:endParaRPr>
          </a:p>
        </p:txBody>
      </p:sp>
      <p:sp>
        <p:nvSpPr>
          <p:cNvPr id="34" name="TextBox 33">
            <a:extLst>
              <a:ext uri="{FF2B5EF4-FFF2-40B4-BE49-F238E27FC236}">
                <a16:creationId xmlns:a16="http://schemas.microsoft.com/office/drawing/2014/main" id="{9112ECAF-58F7-43FB-BE17-9A17C8AC193A}"/>
              </a:ext>
            </a:extLst>
          </p:cNvPr>
          <p:cNvSpPr txBox="1"/>
          <p:nvPr/>
        </p:nvSpPr>
        <p:spPr>
          <a:xfrm>
            <a:off x="11014190"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6</a:t>
            </a:r>
          </a:p>
        </p:txBody>
      </p:sp>
      <p:sp>
        <p:nvSpPr>
          <p:cNvPr id="35" name="TextBox 34">
            <a:extLst>
              <a:ext uri="{FF2B5EF4-FFF2-40B4-BE49-F238E27FC236}">
                <a16:creationId xmlns:a16="http://schemas.microsoft.com/office/drawing/2014/main" id="{D261A15D-63E8-4A05-AB2F-B7F2E0260CC9}"/>
              </a:ext>
            </a:extLst>
          </p:cNvPr>
          <p:cNvSpPr txBox="1"/>
          <p:nvPr/>
        </p:nvSpPr>
        <p:spPr>
          <a:xfrm>
            <a:off x="11203617"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7</a:t>
            </a:r>
            <a:endParaRPr lang="nl-NL" sz="1000" noProof="0" dirty="0">
              <a:solidFill>
                <a:srgbClr val="95C5C9"/>
              </a:solidFill>
            </a:endParaRPr>
          </a:p>
        </p:txBody>
      </p:sp>
    </p:spTree>
    <p:extLst>
      <p:ext uri="{BB962C8B-B14F-4D97-AF65-F5344CB8AC3E}">
        <p14:creationId xmlns:p14="http://schemas.microsoft.com/office/powerpoint/2010/main" val="24123852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ABE98B0-3C8A-43C8-8200-5975A1E67A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5"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CABE98B0-3C8A-43C8-8200-5975A1E67A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B7005C69-C8D5-4CD2-A222-DB83596ED306}"/>
              </a:ext>
            </a:extLst>
          </p:cNvPr>
          <p:cNvSpPr>
            <a:spLocks noGrp="1"/>
          </p:cNvSpPr>
          <p:nvPr>
            <p:ph type="ftr" sz="quarter" idx="3"/>
          </p:nvPr>
        </p:nvSpPr>
        <p:spPr/>
        <p:txBody>
          <a:bodyPr/>
          <a:lstStyle/>
          <a:p>
            <a:r>
              <a:rPr lang="nl-NL" noProof="0"/>
              <a:t>Bron: </a:t>
            </a:r>
          </a:p>
        </p:txBody>
      </p:sp>
      <p:sp>
        <p:nvSpPr>
          <p:cNvPr id="5" name="Slide Number Placeholder 4">
            <a:extLst>
              <a:ext uri="{FF2B5EF4-FFF2-40B4-BE49-F238E27FC236}">
                <a16:creationId xmlns:a16="http://schemas.microsoft.com/office/drawing/2014/main" id="{884FD416-CB43-4A83-8EDE-DF8450D7AC65}"/>
              </a:ext>
            </a:extLst>
          </p:cNvPr>
          <p:cNvSpPr>
            <a:spLocks noGrp="1"/>
          </p:cNvSpPr>
          <p:nvPr>
            <p:ph type="sldNum" sz="quarter" idx="12"/>
          </p:nvPr>
        </p:nvSpPr>
        <p:spPr/>
        <p:txBody>
          <a:bodyPr/>
          <a:lstStyle/>
          <a:p>
            <a:fld id="{992CD0B2-8AB2-4C6C-8876-E15753662C9B}" type="slidenum">
              <a:rPr lang="nl-NL" noProof="0" smtClean="0"/>
              <a:pPr/>
              <a:t>22</a:t>
            </a:fld>
            <a:endParaRPr lang="nl-NL" noProof="0"/>
          </a:p>
        </p:txBody>
      </p:sp>
      <p:sp>
        <p:nvSpPr>
          <p:cNvPr id="30" name="Text Placeholder 5">
            <a:extLst>
              <a:ext uri="{FF2B5EF4-FFF2-40B4-BE49-F238E27FC236}">
                <a16:creationId xmlns:a16="http://schemas.microsoft.com/office/drawing/2014/main" id="{7347DDFB-778D-40B7-AB84-CA2BD033379C}"/>
              </a:ext>
            </a:extLst>
          </p:cNvPr>
          <p:cNvSpPr txBox="1">
            <a:spLocks/>
          </p:cNvSpPr>
          <p:nvPr/>
        </p:nvSpPr>
        <p:spPr>
          <a:xfrm>
            <a:off x="6031344" y="3673659"/>
            <a:ext cx="5511555" cy="2635066"/>
          </a:xfrm>
          <a:prstGeom prst="rect">
            <a:avLst/>
          </a:prstGeom>
          <a:solidFill>
            <a:schemeClr val="bg1"/>
          </a:solidFill>
          <a:ln>
            <a:solidFill>
              <a:schemeClr val="bg1">
                <a:lumMod val="85000"/>
              </a:schemeClr>
            </a:solidFill>
          </a:ln>
        </p:spPr>
        <p:txBody>
          <a:bodyPr vert="horz" lIns="54000" tIns="72000" rIns="54000" bIns="72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nSpc>
                <a:spcPct val="100000"/>
              </a:lnSpc>
            </a:pPr>
            <a:r>
              <a:rPr lang="nl-NL" sz="1200" dirty="0"/>
              <a:t>Hoe zou een onvoldoende antwoord eruit zien?</a:t>
            </a:r>
            <a:br>
              <a:rPr lang="nl-NL" sz="1200" dirty="0"/>
            </a:br>
            <a:r>
              <a:rPr lang="nl-NL" sz="1200" b="0" dirty="0"/>
              <a:t>Ik denk dat er vrij veel jonge leraren zijn, van de 4.500 leraren zullen dat er zo een 1.500 zijn. Als we aannemen dat die twee jaar langer blijven in Amsterdam, dan krijg je dus 3.000 extra leraren.  Er zullen dus 3.000 extra leraren zijn.</a:t>
            </a:r>
          </a:p>
          <a:p>
            <a:pPr>
              <a:lnSpc>
                <a:spcPct val="100000"/>
              </a:lnSpc>
            </a:pPr>
            <a:endParaRPr lang="nl-NL" sz="1200" b="0" dirty="0"/>
          </a:p>
          <a:p>
            <a:pPr>
              <a:lnSpc>
                <a:spcPct val="100000"/>
              </a:lnSpc>
            </a:pPr>
            <a:r>
              <a:rPr lang="nl-NL" sz="1200" dirty="0"/>
              <a:t>Wat kan hier beter?</a:t>
            </a:r>
          </a:p>
          <a:p>
            <a:pPr marL="171450" indent="-171450">
              <a:lnSpc>
                <a:spcPct val="100000"/>
              </a:lnSpc>
              <a:buFont typeface="Wingdings" panose="05000000000000000000" pitchFamily="2" charset="2"/>
              <a:buChar char="§"/>
            </a:pPr>
            <a:r>
              <a:rPr lang="nl-NL" sz="1200" b="0" dirty="0"/>
              <a:t>De berekening is te grof en klopt niet</a:t>
            </a:r>
          </a:p>
          <a:p>
            <a:pPr marL="171450" indent="-171450">
              <a:lnSpc>
                <a:spcPct val="100000"/>
              </a:lnSpc>
              <a:buFont typeface="Wingdings" panose="05000000000000000000" pitchFamily="2" charset="2"/>
              <a:buChar char="§"/>
            </a:pPr>
            <a:r>
              <a:rPr lang="nl-NL" sz="1200" b="0" dirty="0"/>
              <a:t>De stappen zijn moeilijk te volgen en niet netjes uitgelegd en opgeschreven (bijv. aanname dat 1 op de 3 leraren jong is, is niet expliciet)</a:t>
            </a:r>
          </a:p>
          <a:p>
            <a:pPr marL="171450" indent="-171450">
              <a:lnSpc>
                <a:spcPct val="100000"/>
              </a:lnSpc>
              <a:buFont typeface="Wingdings" panose="05000000000000000000" pitchFamily="2" charset="2"/>
              <a:buChar char="§"/>
            </a:pPr>
            <a:r>
              <a:rPr lang="nl-NL" sz="1200" b="0" dirty="0"/>
              <a:t>Geen ‘</a:t>
            </a:r>
            <a:r>
              <a:rPr lang="nl-NL" sz="1200" b="0" dirty="0" err="1">
                <a:hlinkClick r:id="rId6"/>
              </a:rPr>
              <a:t>sanity</a:t>
            </a:r>
            <a:r>
              <a:rPr lang="nl-NL" sz="1200" b="0" dirty="0">
                <a:hlinkClick r:id="rId6"/>
              </a:rPr>
              <a:t> check</a:t>
            </a:r>
            <a:r>
              <a:rPr lang="nl-NL" sz="1200" b="0" dirty="0"/>
              <a:t>’ op het einde of antwoord logisch is</a:t>
            </a:r>
          </a:p>
          <a:p>
            <a:endParaRPr lang="nl-NL" sz="1200" b="0" dirty="0"/>
          </a:p>
        </p:txBody>
      </p:sp>
      <p:sp>
        <p:nvSpPr>
          <p:cNvPr id="15" name="Text Placeholder 5">
            <a:extLst>
              <a:ext uri="{FF2B5EF4-FFF2-40B4-BE49-F238E27FC236}">
                <a16:creationId xmlns:a16="http://schemas.microsoft.com/office/drawing/2014/main" id="{D810EC08-28BB-4468-B85E-E1A870DBD8DF}"/>
              </a:ext>
            </a:extLst>
          </p:cNvPr>
          <p:cNvSpPr txBox="1">
            <a:spLocks/>
          </p:cNvSpPr>
          <p:nvPr/>
        </p:nvSpPr>
        <p:spPr>
          <a:xfrm>
            <a:off x="2952749" y="3673659"/>
            <a:ext cx="3078595" cy="2635066"/>
          </a:xfrm>
          <a:prstGeom prst="rect">
            <a:avLst/>
          </a:prstGeom>
          <a:solidFill>
            <a:schemeClr val="bg1"/>
          </a:solidFill>
          <a:ln>
            <a:solidFill>
              <a:schemeClr val="bg1">
                <a:lumMod val="85000"/>
              </a:schemeClr>
            </a:solidFill>
          </a:ln>
        </p:spPr>
        <p:txBody>
          <a:bodyPr vert="horz" lIns="54000" tIns="72000" rIns="54000" bIns="72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nSpc>
                <a:spcPct val="100000"/>
              </a:lnSpc>
            </a:pPr>
            <a:r>
              <a:rPr lang="nl-NL" sz="1200" dirty="0"/>
              <a:t>Wat maakt dit antwoord goed?</a:t>
            </a:r>
          </a:p>
          <a:p>
            <a:pPr marL="171450" indent="-171450">
              <a:lnSpc>
                <a:spcPct val="100000"/>
              </a:lnSpc>
              <a:buClr>
                <a:schemeClr val="tx2"/>
              </a:buClr>
              <a:buFont typeface="Wingdings" panose="05000000000000000000" pitchFamily="2" charset="2"/>
              <a:buChar char="ü"/>
            </a:pPr>
            <a:r>
              <a:rPr lang="nl-NL" sz="1200" b="0" dirty="0"/>
              <a:t>Stappen in de berekening zijn helder en logisch</a:t>
            </a:r>
          </a:p>
          <a:p>
            <a:pPr marL="171450" indent="-171450">
              <a:lnSpc>
                <a:spcPct val="100000"/>
              </a:lnSpc>
              <a:buClr>
                <a:schemeClr val="tx2"/>
              </a:buClr>
              <a:buFont typeface="Wingdings" panose="05000000000000000000" pitchFamily="2" charset="2"/>
              <a:buChar char="ü"/>
            </a:pPr>
            <a:r>
              <a:rPr lang="nl-NL" sz="1200" b="0" dirty="0"/>
              <a:t>Er worden (realistische) aannames gemaakt waar nodig</a:t>
            </a:r>
          </a:p>
          <a:p>
            <a:pPr marL="171450" indent="-171450">
              <a:lnSpc>
                <a:spcPct val="100000"/>
              </a:lnSpc>
              <a:buClr>
                <a:schemeClr val="tx2"/>
              </a:buClr>
              <a:buFont typeface="Wingdings" panose="05000000000000000000" pitchFamily="2" charset="2"/>
              <a:buChar char="ü"/>
            </a:pPr>
            <a:r>
              <a:rPr lang="nl-NL" sz="1200" b="0" dirty="0"/>
              <a:t>Interviewer wordt meegenomen in de berekening</a:t>
            </a:r>
          </a:p>
          <a:p>
            <a:pPr marL="171450" indent="-171450">
              <a:lnSpc>
                <a:spcPct val="100000"/>
              </a:lnSpc>
              <a:buClr>
                <a:schemeClr val="tx2"/>
              </a:buClr>
              <a:buFont typeface="Wingdings" panose="05000000000000000000" pitchFamily="2" charset="2"/>
              <a:buChar char="ü"/>
            </a:pPr>
            <a:r>
              <a:rPr lang="nl-NL" sz="1200" b="0" dirty="0"/>
              <a:t>Korte conclusie inclusief verband met eerdere vraag.</a:t>
            </a:r>
          </a:p>
          <a:p>
            <a:pPr>
              <a:buClr>
                <a:schemeClr val="tx2"/>
              </a:buClr>
            </a:pPr>
            <a:endParaRPr lang="nl-NL" sz="1200" b="0" dirty="0"/>
          </a:p>
          <a:p>
            <a:pPr marL="171450" indent="-171450">
              <a:buClr>
                <a:schemeClr val="tx2"/>
              </a:buClr>
              <a:buFont typeface="Wingdings" panose="05000000000000000000" pitchFamily="2" charset="2"/>
              <a:buChar char="§"/>
            </a:pPr>
            <a:endParaRPr lang="nl-NL" sz="1200" b="0" dirty="0"/>
          </a:p>
          <a:p>
            <a:pPr>
              <a:buClr>
                <a:schemeClr val="tx2"/>
              </a:buClr>
            </a:pPr>
            <a:endParaRPr lang="nl-NL" sz="1200" b="0" dirty="0"/>
          </a:p>
          <a:p>
            <a:pPr>
              <a:buClr>
                <a:schemeClr val="tx2"/>
              </a:buClr>
            </a:pPr>
            <a:endParaRPr lang="nl-NL" sz="1200" b="0" dirty="0"/>
          </a:p>
        </p:txBody>
      </p:sp>
      <p:pic>
        <p:nvPicPr>
          <p:cNvPr id="61442" name="Picture 2">
            <a:extLst>
              <a:ext uri="{FF2B5EF4-FFF2-40B4-BE49-F238E27FC236}">
                <a16:creationId xmlns:a16="http://schemas.microsoft.com/office/drawing/2014/main" id="{F31421FC-687C-4775-BBCA-9AC90E0C78E6}"/>
              </a:ext>
            </a:extLst>
          </p:cNvPr>
          <p:cNvPicPr>
            <a:picLocks noChangeAspect="1" noChangeArrowheads="1"/>
          </p:cNvPicPr>
          <p:nvPr/>
        </p:nvPicPr>
        <p:blipFill>
          <a:blip r:embed="rId7" cstate="hqprint">
            <a:extLst>
              <a:ext uri="{28A0092B-C50C-407E-A947-70E740481C1C}">
                <a14:useLocalDpi xmlns:a14="http://schemas.microsoft.com/office/drawing/2010/main"/>
              </a:ext>
            </a:extLst>
          </a:blip>
          <a:srcRect l="38477" r="38477"/>
          <a:stretch/>
        </p:blipFill>
        <p:spPr bwMode="auto">
          <a:xfrm>
            <a:off x="0" y="0"/>
            <a:ext cx="28098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D85439E5-6E0C-4BFB-9E2A-FA280E638BDE}"/>
              </a:ext>
            </a:extLst>
          </p:cNvPr>
          <p:cNvSpPr/>
          <p:nvPr/>
        </p:nvSpPr>
        <p:spPr>
          <a:xfrm>
            <a:off x="0" y="-8800"/>
            <a:ext cx="2809875" cy="6866800"/>
          </a:xfrm>
          <a:prstGeom prst="rect">
            <a:avLst/>
          </a:prstGeom>
          <a:solidFill>
            <a:schemeClr val="bg1">
              <a:lumMod val="95000"/>
              <a:alpha val="84000"/>
            </a:schemeClr>
          </a:solidFill>
          <a:ln>
            <a:noFill/>
          </a:ln>
        </p:spPr>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0" indent="0">
              <a:lnSpc>
                <a:spcPct val="100000"/>
              </a:lnSpc>
              <a:buNone/>
            </a:pPr>
            <a:r>
              <a:rPr lang="nl-NL" sz="2800" b="1" dirty="0">
                <a:solidFill>
                  <a:srgbClr val="22777B"/>
                </a:solidFill>
              </a:rPr>
              <a:t>Vraag 5</a:t>
            </a:r>
          </a:p>
          <a:p>
            <a:pPr marL="0" indent="0">
              <a:lnSpc>
                <a:spcPct val="100000"/>
              </a:lnSpc>
              <a:buNone/>
            </a:pPr>
            <a:br>
              <a:rPr lang="nl-NL" sz="1400" dirty="0"/>
            </a:br>
            <a:br>
              <a:rPr lang="nl-NL" sz="1200" dirty="0"/>
            </a:br>
            <a:r>
              <a:rPr lang="nl-NL" sz="1200" dirty="0"/>
              <a:t>Het is goed om stil te staan bij het feit dat in Amsterdam relatief veel jonge startende leraren werken, dit is relevant voor de problematiek. Veel van deze jonge leraren trekken namelijk op een gegeven moment de stad uit. Verwacht wordt dat het niet mogelijk is om deze groep op de lange termijn te behouden, maar dat er wel maatregelen te verzinnen zijn om hen wat langer te laten blijven. </a:t>
            </a:r>
          </a:p>
          <a:p>
            <a:pPr marL="0" indent="0">
              <a:lnSpc>
                <a:spcPct val="100000"/>
              </a:lnSpc>
              <a:buNone/>
            </a:pPr>
            <a:r>
              <a:rPr lang="nl-NL" sz="1200" dirty="0"/>
              <a:t>Kun jij een inschatting maken hoeveel extra leraren er in Amsterdam zouden werken wanneer jonge leraren twee jaar later uit de stad trekken om elders te gaan wonen en werken? Je kunt hierbij aannemen dat er op dit moment ongeveer 4.500 leraren in Amsterdam werken.</a:t>
            </a:r>
          </a:p>
          <a:p>
            <a:pPr marL="0" indent="0" algn="ctr">
              <a:lnSpc>
                <a:spcPct val="100000"/>
              </a:lnSpc>
              <a:buClr>
                <a:schemeClr val="tx2"/>
              </a:buClr>
              <a:buNone/>
            </a:pPr>
            <a:endParaRPr kumimoji="0" lang="nl-NL" sz="1400" i="0" u="none" strike="noStrike" kern="1200" cap="none" spc="0" normalizeH="0" baseline="0" noProof="0" dirty="0">
              <a:ln>
                <a:noFill/>
              </a:ln>
              <a:effectLst/>
              <a:uLnTx/>
              <a:uFillTx/>
              <a:latin typeface="Corbel" panose="020B0503020204020204" pitchFamily="34" charset="0"/>
              <a:ea typeface="+mn-ea"/>
              <a:cs typeface="+mn-cs"/>
            </a:endParaRPr>
          </a:p>
        </p:txBody>
      </p:sp>
      <p:grpSp>
        <p:nvGrpSpPr>
          <p:cNvPr id="21" name="Group 20">
            <a:extLst>
              <a:ext uri="{FF2B5EF4-FFF2-40B4-BE49-F238E27FC236}">
                <a16:creationId xmlns:a16="http://schemas.microsoft.com/office/drawing/2014/main" id="{C5578B65-C922-42B5-B58E-017E05320628}"/>
              </a:ext>
            </a:extLst>
          </p:cNvPr>
          <p:cNvGrpSpPr/>
          <p:nvPr/>
        </p:nvGrpSpPr>
        <p:grpSpPr>
          <a:xfrm>
            <a:off x="1444733" y="241300"/>
            <a:ext cx="504420" cy="348414"/>
            <a:chOff x="2836863" y="3201988"/>
            <a:chExt cx="2001837" cy="1382712"/>
          </a:xfrm>
          <a:solidFill>
            <a:schemeClr val="tx2"/>
          </a:solidFill>
        </p:grpSpPr>
        <p:sp>
          <p:nvSpPr>
            <p:cNvPr id="22" name="Freeform 1">
              <a:extLst>
                <a:ext uri="{FF2B5EF4-FFF2-40B4-BE49-F238E27FC236}">
                  <a16:creationId xmlns:a16="http://schemas.microsoft.com/office/drawing/2014/main" id="{3B7896AF-670D-49F2-865F-D697DA861715}"/>
                </a:ext>
              </a:extLst>
            </p:cNvPr>
            <p:cNvSpPr>
              <a:spLocks noChangeArrowheads="1"/>
            </p:cNvSpPr>
            <p:nvPr/>
          </p:nvSpPr>
          <p:spPr bwMode="auto">
            <a:xfrm>
              <a:off x="2870200" y="3246438"/>
              <a:ext cx="1450975" cy="1247775"/>
            </a:xfrm>
            <a:custGeom>
              <a:avLst/>
              <a:gdLst>
                <a:gd name="T0" fmla="*/ 3625 w 4032"/>
                <a:gd name="T1" fmla="*/ 593 h 3468"/>
                <a:gd name="T2" fmla="*/ 3625 w 4032"/>
                <a:gd name="T3" fmla="*/ 593 h 3468"/>
                <a:gd name="T4" fmla="*/ 2000 w 4032"/>
                <a:gd name="T5" fmla="*/ 0 h 3468"/>
                <a:gd name="T6" fmla="*/ 593 w 4032"/>
                <a:gd name="T7" fmla="*/ 468 h 3468"/>
                <a:gd name="T8" fmla="*/ 593 w 4032"/>
                <a:gd name="T9" fmla="*/ 468 h 3468"/>
                <a:gd name="T10" fmla="*/ 31 w 4032"/>
                <a:gd name="T11" fmla="*/ 1531 h 3468"/>
                <a:gd name="T12" fmla="*/ 593 w 4032"/>
                <a:gd name="T13" fmla="*/ 2592 h 3468"/>
                <a:gd name="T14" fmla="*/ 500 w 4032"/>
                <a:gd name="T15" fmla="*/ 3374 h 3468"/>
                <a:gd name="T16" fmla="*/ 406 w 4032"/>
                <a:gd name="T17" fmla="*/ 3467 h 3468"/>
                <a:gd name="T18" fmla="*/ 531 w 4032"/>
                <a:gd name="T19" fmla="*/ 3467 h 3468"/>
                <a:gd name="T20" fmla="*/ 1343 w 4032"/>
                <a:gd name="T21" fmla="*/ 2967 h 3468"/>
                <a:gd name="T22" fmla="*/ 2093 w 4032"/>
                <a:gd name="T23" fmla="*/ 3030 h 3468"/>
                <a:gd name="T24" fmla="*/ 3531 w 4032"/>
                <a:gd name="T25" fmla="*/ 2592 h 3468"/>
                <a:gd name="T26" fmla="*/ 4031 w 4032"/>
                <a:gd name="T27" fmla="*/ 1531 h 3468"/>
                <a:gd name="T28" fmla="*/ 3625 w 4032"/>
                <a:gd name="T29" fmla="*/ 593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2" h="3468">
                  <a:moveTo>
                    <a:pt x="3625" y="593"/>
                  </a:moveTo>
                  <a:lnTo>
                    <a:pt x="3625" y="593"/>
                  </a:lnTo>
                  <a:cubicBezTo>
                    <a:pt x="3250" y="218"/>
                    <a:pt x="2625" y="0"/>
                    <a:pt x="2000" y="0"/>
                  </a:cubicBezTo>
                  <a:cubicBezTo>
                    <a:pt x="1468" y="0"/>
                    <a:pt x="1000" y="156"/>
                    <a:pt x="593" y="468"/>
                  </a:cubicBezTo>
                  <a:lnTo>
                    <a:pt x="593" y="468"/>
                  </a:lnTo>
                  <a:cubicBezTo>
                    <a:pt x="218" y="781"/>
                    <a:pt x="0" y="1156"/>
                    <a:pt x="31" y="1531"/>
                  </a:cubicBezTo>
                  <a:cubicBezTo>
                    <a:pt x="62" y="2217"/>
                    <a:pt x="500" y="2530"/>
                    <a:pt x="593" y="2592"/>
                  </a:cubicBezTo>
                  <a:cubicBezTo>
                    <a:pt x="625" y="2717"/>
                    <a:pt x="687" y="3092"/>
                    <a:pt x="500" y="3374"/>
                  </a:cubicBezTo>
                  <a:cubicBezTo>
                    <a:pt x="406" y="3467"/>
                    <a:pt x="406" y="3467"/>
                    <a:pt x="406" y="3467"/>
                  </a:cubicBezTo>
                  <a:cubicBezTo>
                    <a:pt x="531" y="3467"/>
                    <a:pt x="531" y="3467"/>
                    <a:pt x="531" y="3467"/>
                  </a:cubicBezTo>
                  <a:cubicBezTo>
                    <a:pt x="1000" y="3436"/>
                    <a:pt x="1281" y="3092"/>
                    <a:pt x="1343" y="2967"/>
                  </a:cubicBezTo>
                  <a:cubicBezTo>
                    <a:pt x="1437" y="2999"/>
                    <a:pt x="1718" y="3061"/>
                    <a:pt x="2093" y="3030"/>
                  </a:cubicBezTo>
                  <a:cubicBezTo>
                    <a:pt x="2656" y="3030"/>
                    <a:pt x="3156" y="2874"/>
                    <a:pt x="3531" y="2592"/>
                  </a:cubicBezTo>
                  <a:cubicBezTo>
                    <a:pt x="3843" y="2280"/>
                    <a:pt x="4031" y="1905"/>
                    <a:pt x="4031" y="1531"/>
                  </a:cubicBezTo>
                  <a:cubicBezTo>
                    <a:pt x="4031" y="1218"/>
                    <a:pt x="3906" y="906"/>
                    <a:pt x="3625" y="5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3" name="Freeform 2">
              <a:extLst>
                <a:ext uri="{FF2B5EF4-FFF2-40B4-BE49-F238E27FC236}">
                  <a16:creationId xmlns:a16="http://schemas.microsoft.com/office/drawing/2014/main" id="{CAD3F577-FAD4-4169-913E-31809A4FFBDC}"/>
                </a:ext>
              </a:extLst>
            </p:cNvPr>
            <p:cNvSpPr>
              <a:spLocks noChangeArrowheads="1"/>
            </p:cNvSpPr>
            <p:nvPr/>
          </p:nvSpPr>
          <p:spPr bwMode="auto">
            <a:xfrm>
              <a:off x="3983038" y="3201988"/>
              <a:ext cx="855662" cy="1338262"/>
            </a:xfrm>
            <a:custGeom>
              <a:avLst/>
              <a:gdLst>
                <a:gd name="T0" fmla="*/ 1781 w 2376"/>
                <a:gd name="T1" fmla="*/ 2811 h 3718"/>
                <a:gd name="T2" fmla="*/ 1781 w 2376"/>
                <a:gd name="T3" fmla="*/ 2811 h 3718"/>
                <a:gd name="T4" fmla="*/ 2375 w 2376"/>
                <a:gd name="T5" fmla="*/ 1687 h 3718"/>
                <a:gd name="T6" fmla="*/ 1750 w 2376"/>
                <a:gd name="T7" fmla="*/ 500 h 3718"/>
                <a:gd name="T8" fmla="*/ 282 w 2376"/>
                <a:gd name="T9" fmla="*/ 0 h 3718"/>
                <a:gd name="T10" fmla="*/ 0 w 2376"/>
                <a:gd name="T11" fmla="*/ 31 h 3718"/>
                <a:gd name="T12" fmla="*/ 782 w 2376"/>
                <a:gd name="T13" fmla="*/ 531 h 3718"/>
                <a:gd name="T14" fmla="*/ 1250 w 2376"/>
                <a:gd name="T15" fmla="*/ 1656 h 3718"/>
                <a:gd name="T16" fmla="*/ 625 w 2376"/>
                <a:gd name="T17" fmla="*/ 2905 h 3718"/>
                <a:gd name="T18" fmla="*/ 0 w 2376"/>
                <a:gd name="T19" fmla="*/ 3280 h 3718"/>
                <a:gd name="T20" fmla="*/ 875 w 2376"/>
                <a:gd name="T21" fmla="*/ 3249 h 3718"/>
                <a:gd name="T22" fmla="*/ 1938 w 2376"/>
                <a:gd name="T23" fmla="*/ 3717 h 3718"/>
                <a:gd name="T24" fmla="*/ 2219 w 2376"/>
                <a:gd name="T25" fmla="*/ 3717 h 3718"/>
                <a:gd name="T26" fmla="*/ 2032 w 2376"/>
                <a:gd name="T27" fmla="*/ 3530 h 3718"/>
                <a:gd name="T28" fmla="*/ 1781 w 2376"/>
                <a:gd name="T29" fmla="*/ 2811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6" h="3718">
                  <a:moveTo>
                    <a:pt x="1781" y="2811"/>
                  </a:moveTo>
                  <a:lnTo>
                    <a:pt x="1781" y="2811"/>
                  </a:lnTo>
                  <a:cubicBezTo>
                    <a:pt x="2157" y="2499"/>
                    <a:pt x="2375" y="2092"/>
                    <a:pt x="2375" y="1687"/>
                  </a:cubicBezTo>
                  <a:cubicBezTo>
                    <a:pt x="2375" y="1218"/>
                    <a:pt x="2188" y="812"/>
                    <a:pt x="1750" y="500"/>
                  </a:cubicBezTo>
                  <a:cubicBezTo>
                    <a:pt x="1344" y="187"/>
                    <a:pt x="844" y="0"/>
                    <a:pt x="282" y="0"/>
                  </a:cubicBezTo>
                  <a:cubicBezTo>
                    <a:pt x="188" y="0"/>
                    <a:pt x="94" y="0"/>
                    <a:pt x="0" y="31"/>
                  </a:cubicBezTo>
                  <a:cubicBezTo>
                    <a:pt x="282" y="125"/>
                    <a:pt x="563" y="312"/>
                    <a:pt x="782" y="531"/>
                  </a:cubicBezTo>
                  <a:cubicBezTo>
                    <a:pt x="1094" y="843"/>
                    <a:pt x="1250" y="1218"/>
                    <a:pt x="1250" y="1656"/>
                  </a:cubicBezTo>
                  <a:cubicBezTo>
                    <a:pt x="1250" y="2124"/>
                    <a:pt x="1032" y="2592"/>
                    <a:pt x="625" y="2905"/>
                  </a:cubicBezTo>
                  <a:cubicBezTo>
                    <a:pt x="438" y="3061"/>
                    <a:pt x="219" y="3186"/>
                    <a:pt x="0" y="3280"/>
                  </a:cubicBezTo>
                  <a:cubicBezTo>
                    <a:pt x="282" y="3311"/>
                    <a:pt x="563" y="3280"/>
                    <a:pt x="875" y="3249"/>
                  </a:cubicBezTo>
                  <a:cubicBezTo>
                    <a:pt x="1125" y="3561"/>
                    <a:pt x="1469" y="3717"/>
                    <a:pt x="1938" y="3717"/>
                  </a:cubicBezTo>
                  <a:cubicBezTo>
                    <a:pt x="2219" y="3717"/>
                    <a:pt x="2219" y="3717"/>
                    <a:pt x="2219" y="3717"/>
                  </a:cubicBezTo>
                  <a:cubicBezTo>
                    <a:pt x="2032" y="3530"/>
                    <a:pt x="2032" y="3530"/>
                    <a:pt x="2032" y="3530"/>
                  </a:cubicBezTo>
                  <a:cubicBezTo>
                    <a:pt x="1813" y="3311"/>
                    <a:pt x="1750" y="3092"/>
                    <a:pt x="1781" y="28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4" name="Freeform 3">
              <a:extLst>
                <a:ext uri="{FF2B5EF4-FFF2-40B4-BE49-F238E27FC236}">
                  <a16:creationId xmlns:a16="http://schemas.microsoft.com/office/drawing/2014/main" id="{8EDCAE06-9FA2-4B47-B181-6930B4A19E56}"/>
                </a:ext>
              </a:extLst>
            </p:cNvPr>
            <p:cNvSpPr>
              <a:spLocks noChangeArrowheads="1"/>
            </p:cNvSpPr>
            <p:nvPr/>
          </p:nvSpPr>
          <p:spPr bwMode="auto">
            <a:xfrm>
              <a:off x="2836863" y="3201988"/>
              <a:ext cx="1530350" cy="1382712"/>
            </a:xfrm>
            <a:custGeom>
              <a:avLst/>
              <a:gdLst>
                <a:gd name="T0" fmla="*/ 219 w 4251"/>
                <a:gd name="T1" fmla="*/ 3717 h 3843"/>
                <a:gd name="T2" fmla="*/ 219 w 4251"/>
                <a:gd name="T3" fmla="*/ 3717 h 3843"/>
                <a:gd name="T4" fmla="*/ 594 w 4251"/>
                <a:gd name="T5" fmla="*/ 2811 h 3843"/>
                <a:gd name="T6" fmla="*/ 0 w 4251"/>
                <a:gd name="T7" fmla="*/ 1656 h 3843"/>
                <a:gd name="T8" fmla="*/ 625 w 4251"/>
                <a:gd name="T9" fmla="*/ 500 h 3843"/>
                <a:gd name="T10" fmla="*/ 2094 w 4251"/>
                <a:gd name="T11" fmla="*/ 0 h 3843"/>
                <a:gd name="T12" fmla="*/ 2094 w 4251"/>
                <a:gd name="T13" fmla="*/ 0 h 3843"/>
                <a:gd name="T14" fmla="*/ 3781 w 4251"/>
                <a:gd name="T15" fmla="*/ 625 h 3843"/>
                <a:gd name="T16" fmla="*/ 4250 w 4251"/>
                <a:gd name="T17" fmla="*/ 1656 h 3843"/>
                <a:gd name="T18" fmla="*/ 3656 w 4251"/>
                <a:gd name="T19" fmla="*/ 2780 h 3843"/>
                <a:gd name="T20" fmla="*/ 1469 w 4251"/>
                <a:gd name="T21" fmla="*/ 3217 h 3843"/>
                <a:gd name="T22" fmla="*/ 219 w 4251"/>
                <a:gd name="T23" fmla="*/ 3717 h 3843"/>
                <a:gd name="T24" fmla="*/ 719 w 4251"/>
                <a:gd name="T25" fmla="*/ 625 h 3843"/>
                <a:gd name="T26" fmla="*/ 719 w 4251"/>
                <a:gd name="T27" fmla="*/ 625 h 3843"/>
                <a:gd name="T28" fmla="*/ 187 w 4251"/>
                <a:gd name="T29" fmla="*/ 1656 h 3843"/>
                <a:gd name="T30" fmla="*/ 750 w 4251"/>
                <a:gd name="T31" fmla="*/ 2686 h 3843"/>
                <a:gd name="T32" fmla="*/ 625 w 4251"/>
                <a:gd name="T33" fmla="*/ 3530 h 3843"/>
                <a:gd name="T34" fmla="*/ 1406 w 4251"/>
                <a:gd name="T35" fmla="*/ 3030 h 3843"/>
                <a:gd name="T36" fmla="*/ 3562 w 4251"/>
                <a:gd name="T37" fmla="*/ 2655 h 3843"/>
                <a:gd name="T38" fmla="*/ 4062 w 4251"/>
                <a:gd name="T39" fmla="*/ 1656 h 3843"/>
                <a:gd name="T40" fmla="*/ 3656 w 4251"/>
                <a:gd name="T41" fmla="*/ 750 h 3843"/>
                <a:gd name="T42" fmla="*/ 2094 w 4251"/>
                <a:gd name="T43" fmla="*/ 187 h 3843"/>
                <a:gd name="T44" fmla="*/ 719 w 4251"/>
                <a:gd name="T45" fmla="*/ 625 h 3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51" h="3843">
                  <a:moveTo>
                    <a:pt x="219" y="3717"/>
                  </a:moveTo>
                  <a:lnTo>
                    <a:pt x="219" y="3717"/>
                  </a:lnTo>
                  <a:cubicBezTo>
                    <a:pt x="219" y="3717"/>
                    <a:pt x="656" y="3342"/>
                    <a:pt x="594" y="2811"/>
                  </a:cubicBezTo>
                  <a:cubicBezTo>
                    <a:pt x="219" y="2499"/>
                    <a:pt x="0" y="2092"/>
                    <a:pt x="0" y="1656"/>
                  </a:cubicBezTo>
                  <a:cubicBezTo>
                    <a:pt x="0" y="1218"/>
                    <a:pt x="219" y="812"/>
                    <a:pt x="625" y="500"/>
                  </a:cubicBezTo>
                  <a:cubicBezTo>
                    <a:pt x="1031" y="187"/>
                    <a:pt x="1531" y="0"/>
                    <a:pt x="2094" y="0"/>
                  </a:cubicBezTo>
                  <a:lnTo>
                    <a:pt x="2094" y="0"/>
                  </a:lnTo>
                  <a:cubicBezTo>
                    <a:pt x="2781" y="0"/>
                    <a:pt x="3375" y="218"/>
                    <a:pt x="3781" y="625"/>
                  </a:cubicBezTo>
                  <a:cubicBezTo>
                    <a:pt x="4094" y="937"/>
                    <a:pt x="4250" y="1281"/>
                    <a:pt x="4250" y="1656"/>
                  </a:cubicBezTo>
                  <a:cubicBezTo>
                    <a:pt x="4250" y="2092"/>
                    <a:pt x="4031" y="2499"/>
                    <a:pt x="3656" y="2780"/>
                  </a:cubicBezTo>
                  <a:cubicBezTo>
                    <a:pt x="3125" y="3217"/>
                    <a:pt x="2344" y="3374"/>
                    <a:pt x="1469" y="3217"/>
                  </a:cubicBezTo>
                  <a:cubicBezTo>
                    <a:pt x="1125" y="3842"/>
                    <a:pt x="219" y="3717"/>
                    <a:pt x="219" y="3717"/>
                  </a:cubicBezTo>
                  <a:close/>
                  <a:moveTo>
                    <a:pt x="719" y="625"/>
                  </a:moveTo>
                  <a:lnTo>
                    <a:pt x="719" y="625"/>
                  </a:lnTo>
                  <a:cubicBezTo>
                    <a:pt x="375" y="906"/>
                    <a:pt x="156" y="1281"/>
                    <a:pt x="187" y="1656"/>
                  </a:cubicBezTo>
                  <a:cubicBezTo>
                    <a:pt x="219" y="2374"/>
                    <a:pt x="750" y="2686"/>
                    <a:pt x="750" y="2686"/>
                  </a:cubicBezTo>
                  <a:cubicBezTo>
                    <a:pt x="750" y="2686"/>
                    <a:pt x="875" y="3186"/>
                    <a:pt x="625" y="3530"/>
                  </a:cubicBezTo>
                  <a:cubicBezTo>
                    <a:pt x="1125" y="3499"/>
                    <a:pt x="1406" y="3030"/>
                    <a:pt x="1406" y="3030"/>
                  </a:cubicBezTo>
                  <a:cubicBezTo>
                    <a:pt x="1406" y="3030"/>
                    <a:pt x="2719" y="3342"/>
                    <a:pt x="3562" y="2655"/>
                  </a:cubicBezTo>
                  <a:cubicBezTo>
                    <a:pt x="3875" y="2374"/>
                    <a:pt x="4062" y="2030"/>
                    <a:pt x="4062" y="1656"/>
                  </a:cubicBezTo>
                  <a:cubicBezTo>
                    <a:pt x="4062" y="1312"/>
                    <a:pt x="3906" y="1031"/>
                    <a:pt x="3656" y="750"/>
                  </a:cubicBezTo>
                  <a:cubicBezTo>
                    <a:pt x="3281" y="375"/>
                    <a:pt x="2656" y="187"/>
                    <a:pt x="2094" y="187"/>
                  </a:cubicBezTo>
                  <a:cubicBezTo>
                    <a:pt x="1562" y="187"/>
                    <a:pt x="1094" y="343"/>
                    <a:pt x="719" y="62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17" name="Oval 16">
            <a:extLst>
              <a:ext uri="{FF2B5EF4-FFF2-40B4-BE49-F238E27FC236}">
                <a16:creationId xmlns:a16="http://schemas.microsoft.com/office/drawing/2014/main" id="{81CF0B15-F031-4AF7-B652-ABA92EA1C214}"/>
              </a:ext>
            </a:extLst>
          </p:cNvPr>
          <p:cNvSpPr/>
          <p:nvPr/>
        </p:nvSpPr>
        <p:spPr>
          <a:xfrm>
            <a:off x="10818986" y="36609"/>
            <a:ext cx="148708" cy="148708"/>
          </a:xfrm>
          <a:prstGeom prst="ellipse">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95C5C9"/>
              </a:solidFill>
              <a:effectLst/>
              <a:uLnTx/>
              <a:uFillTx/>
              <a:latin typeface="Corbel" panose="020B0503020204020204" pitchFamily="34" charset="0"/>
              <a:ea typeface="+mn-ea"/>
              <a:cs typeface="+mn-cs"/>
            </a:endParaRPr>
          </a:p>
        </p:txBody>
      </p:sp>
      <p:sp>
        <p:nvSpPr>
          <p:cNvPr id="18" name="TextBox 17">
            <a:extLst>
              <a:ext uri="{FF2B5EF4-FFF2-40B4-BE49-F238E27FC236}">
                <a16:creationId xmlns:a16="http://schemas.microsoft.com/office/drawing/2014/main" id="{54333A3E-F8F9-48B0-AA3F-8FF795166FC8}"/>
              </a:ext>
            </a:extLst>
          </p:cNvPr>
          <p:cNvSpPr txBox="1"/>
          <p:nvPr/>
        </p:nvSpPr>
        <p:spPr>
          <a:xfrm>
            <a:off x="10067055"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1</a:t>
            </a:r>
            <a:endParaRPr lang="nl-NL" noProof="0" dirty="0">
              <a:solidFill>
                <a:srgbClr val="95C5C9"/>
              </a:solidFill>
            </a:endParaRPr>
          </a:p>
        </p:txBody>
      </p:sp>
      <p:sp>
        <p:nvSpPr>
          <p:cNvPr id="19" name="TextBox 18">
            <a:extLst>
              <a:ext uri="{FF2B5EF4-FFF2-40B4-BE49-F238E27FC236}">
                <a16:creationId xmlns:a16="http://schemas.microsoft.com/office/drawing/2014/main" id="{F11BAC19-BDC6-4E18-91B2-ACB72F19CEBF}"/>
              </a:ext>
            </a:extLst>
          </p:cNvPr>
          <p:cNvSpPr txBox="1"/>
          <p:nvPr/>
        </p:nvSpPr>
        <p:spPr>
          <a:xfrm>
            <a:off x="10256482"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2</a:t>
            </a:r>
          </a:p>
        </p:txBody>
      </p:sp>
      <p:sp>
        <p:nvSpPr>
          <p:cNvPr id="20" name="TextBox 19">
            <a:extLst>
              <a:ext uri="{FF2B5EF4-FFF2-40B4-BE49-F238E27FC236}">
                <a16:creationId xmlns:a16="http://schemas.microsoft.com/office/drawing/2014/main" id="{BB2F4E2A-8086-4D51-9AA8-7AC4ECAAF631}"/>
              </a:ext>
            </a:extLst>
          </p:cNvPr>
          <p:cNvSpPr txBox="1"/>
          <p:nvPr/>
        </p:nvSpPr>
        <p:spPr>
          <a:xfrm>
            <a:off x="10445909"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3</a:t>
            </a:r>
          </a:p>
        </p:txBody>
      </p:sp>
      <p:sp>
        <p:nvSpPr>
          <p:cNvPr id="25" name="TextBox 24">
            <a:extLst>
              <a:ext uri="{FF2B5EF4-FFF2-40B4-BE49-F238E27FC236}">
                <a16:creationId xmlns:a16="http://schemas.microsoft.com/office/drawing/2014/main" id="{ADD710EE-0F34-4A87-8A36-0E242C9E6556}"/>
              </a:ext>
            </a:extLst>
          </p:cNvPr>
          <p:cNvSpPr txBox="1"/>
          <p:nvPr/>
        </p:nvSpPr>
        <p:spPr>
          <a:xfrm>
            <a:off x="10635336"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4</a:t>
            </a:r>
            <a:endParaRPr lang="nl-NL" noProof="0" dirty="0">
              <a:solidFill>
                <a:srgbClr val="95C5C9"/>
              </a:solidFill>
            </a:endParaRPr>
          </a:p>
        </p:txBody>
      </p:sp>
      <p:sp>
        <p:nvSpPr>
          <p:cNvPr id="26" name="TextBox 25">
            <a:extLst>
              <a:ext uri="{FF2B5EF4-FFF2-40B4-BE49-F238E27FC236}">
                <a16:creationId xmlns:a16="http://schemas.microsoft.com/office/drawing/2014/main" id="{792CF7E5-8998-4A1D-8510-1A9E889D6396}"/>
              </a:ext>
            </a:extLst>
          </p:cNvPr>
          <p:cNvSpPr txBox="1"/>
          <p:nvPr/>
        </p:nvSpPr>
        <p:spPr>
          <a:xfrm>
            <a:off x="10824763" y="40328"/>
            <a:ext cx="137154" cy="141270"/>
          </a:xfrm>
          <a:prstGeom prst="rect">
            <a:avLst/>
          </a:prstGeom>
        </p:spPr>
        <p:txBody>
          <a:bodyPr vert="horz" wrap="square" lIns="0" tIns="0" rIns="0" bIns="0" rtlCol="0" anchor="ctr">
            <a:noAutofit/>
          </a:bodyPr>
          <a:lstStyle/>
          <a:p>
            <a:pPr marL="0" indent="0" algn="ctr">
              <a:buNone/>
            </a:pPr>
            <a:r>
              <a:rPr lang="nl-NL" sz="1000" b="1" dirty="0">
                <a:solidFill>
                  <a:srgbClr val="95C5C9"/>
                </a:solidFill>
              </a:rPr>
              <a:t>5</a:t>
            </a:r>
            <a:endParaRPr lang="nl-NL" sz="1000" b="1" noProof="0" dirty="0">
              <a:solidFill>
                <a:srgbClr val="95C5C9"/>
              </a:solidFill>
            </a:endParaRPr>
          </a:p>
        </p:txBody>
      </p:sp>
      <p:sp>
        <p:nvSpPr>
          <p:cNvPr id="27" name="TextBox 26">
            <a:extLst>
              <a:ext uri="{FF2B5EF4-FFF2-40B4-BE49-F238E27FC236}">
                <a16:creationId xmlns:a16="http://schemas.microsoft.com/office/drawing/2014/main" id="{E40D0D37-126A-46F7-AC8C-5DCE0F803697}"/>
              </a:ext>
            </a:extLst>
          </p:cNvPr>
          <p:cNvSpPr txBox="1"/>
          <p:nvPr/>
        </p:nvSpPr>
        <p:spPr>
          <a:xfrm>
            <a:off x="11014190"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6</a:t>
            </a:r>
          </a:p>
        </p:txBody>
      </p:sp>
      <p:sp>
        <p:nvSpPr>
          <p:cNvPr id="28" name="TextBox 27">
            <a:extLst>
              <a:ext uri="{FF2B5EF4-FFF2-40B4-BE49-F238E27FC236}">
                <a16:creationId xmlns:a16="http://schemas.microsoft.com/office/drawing/2014/main" id="{D86987AA-49C4-4B15-83B2-6E315FA0C4A2}"/>
              </a:ext>
            </a:extLst>
          </p:cNvPr>
          <p:cNvSpPr txBox="1"/>
          <p:nvPr/>
        </p:nvSpPr>
        <p:spPr>
          <a:xfrm>
            <a:off x="11203617"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7</a:t>
            </a:r>
            <a:endParaRPr lang="nl-NL" sz="1000" noProof="0" dirty="0">
              <a:solidFill>
                <a:srgbClr val="95C5C9"/>
              </a:solidFill>
            </a:endParaRPr>
          </a:p>
        </p:txBody>
      </p:sp>
      <p:sp>
        <p:nvSpPr>
          <p:cNvPr id="29" name="Text Placeholder 5">
            <a:extLst>
              <a:ext uri="{FF2B5EF4-FFF2-40B4-BE49-F238E27FC236}">
                <a16:creationId xmlns:a16="http://schemas.microsoft.com/office/drawing/2014/main" id="{87BA63DB-15E7-481C-A8A3-DD1116D93AA0}"/>
              </a:ext>
            </a:extLst>
          </p:cNvPr>
          <p:cNvSpPr txBox="1">
            <a:spLocks/>
          </p:cNvSpPr>
          <p:nvPr/>
        </p:nvSpPr>
        <p:spPr>
          <a:xfrm>
            <a:off x="2923563" y="541694"/>
            <a:ext cx="8577451" cy="3053212"/>
          </a:xfrm>
          <a:prstGeom prst="rect">
            <a:avLst/>
          </a:prstGeom>
          <a:solidFill>
            <a:schemeClr val="bg1">
              <a:lumMod val="95000"/>
            </a:schemeClr>
          </a:solidFill>
          <a:ln>
            <a:solidFill>
              <a:srgbClr val="22777B"/>
            </a:solidFill>
          </a:ln>
        </p:spPr>
        <p:txBody>
          <a:bodyPr vert="horz" lIns="72000" tIns="72000" rIns="72000" bIns="72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nSpc>
                <a:spcPct val="100000"/>
              </a:lnSpc>
              <a:spcBef>
                <a:spcPts val="600"/>
              </a:spcBef>
            </a:pPr>
            <a:r>
              <a:rPr lang="nl-NL" sz="1200" dirty="0"/>
              <a:t>Excellent antwoord</a:t>
            </a:r>
            <a:br>
              <a:rPr lang="nl-NL" sz="1200" dirty="0"/>
            </a:br>
            <a:r>
              <a:rPr lang="nl-NL" sz="1200" b="0" dirty="0"/>
              <a:t>Wanneer leraren gemiddeld 2 jaar later de stad uittrekken is twee keer ‘het aantal jonge leraren dat per jaar de stad uittrekt’ aan extra leraren beschikbaar in Amsterdam. Om het effect van deze maatregel te berekenen moet ik dus weten hoeveel jonge leraren per jaar de stad uit trekken. Dit doen ik door de totale uitstroom van het aantal leraren per jaar te  berekenen, en een aanname te doen welk gedeelte daarvan wordt veroorzaakt doordat jonge leraren de stad verlaten.</a:t>
            </a:r>
          </a:p>
          <a:p>
            <a:pPr>
              <a:lnSpc>
                <a:spcPct val="100000"/>
              </a:lnSpc>
              <a:spcBef>
                <a:spcPts val="600"/>
              </a:spcBef>
            </a:pPr>
            <a:r>
              <a:rPr lang="nl-NL" sz="1200" b="0" dirty="0"/>
              <a:t>Om te berekenen wat de uitstroom per jaar is, wil ik weten of het bekend is hoe lang een leraar gemiddeld werkt in Amsterdam. [</a:t>
            </a:r>
            <a:r>
              <a:rPr lang="nl-NL" sz="1200" b="0" i="1" dirty="0"/>
              <a:t>interviewer: ja, dat is ongeveer 15 jaar</a:t>
            </a:r>
            <a:r>
              <a:rPr lang="nl-NL" sz="1200" b="0" dirty="0"/>
              <a:t>]. Als ik dan aanneem dat er niet bijzonder veel jonge of oude leraren zijn, kan ik dus berekenen dat er 4.500/15 = 300 leraren uitstromen per jaar.</a:t>
            </a:r>
          </a:p>
          <a:p>
            <a:pPr>
              <a:lnSpc>
                <a:spcPct val="100000"/>
              </a:lnSpc>
              <a:spcBef>
                <a:spcPts val="600"/>
              </a:spcBef>
            </a:pPr>
            <a:r>
              <a:rPr lang="nl-NL" sz="1200" b="0" dirty="0"/>
              <a:t>Ik neem nu ook aan dat de helft van de uitstroom veroorzaakt wordt door jonge leraren die de stad verlaten, de overige uitstroom is bijvoorbeeld pensioen of de overstap naar een andere functie binnen of buiten het onderwijs.  Ik weet dan dat er per jaar 300/2=150 jonge leraren de stad verlaten. Omdat deze jonge leraren gemiddeld twee jaar later de stad uittrekken zorgt deze maatregel er dus voor dat er 150*2 =300 extra leraren beschikbaar zijn in Amsterdam. </a:t>
            </a:r>
          </a:p>
          <a:p>
            <a:pPr>
              <a:lnSpc>
                <a:spcPct val="100000"/>
              </a:lnSpc>
              <a:spcBef>
                <a:spcPts val="600"/>
              </a:spcBef>
            </a:pPr>
            <a:r>
              <a:rPr lang="nl-NL" sz="1200" b="0" dirty="0"/>
              <a:t>Deze 300 extra leraren is een substantieel aantal vergeleken met het totaal van 4.500 leraren. Goed te beseffen dat dit dus een voorbeeld is van een maatregel waar onze buurgemeenten niet blij mee zullen zijn, zij zullen immers een daling van hun instroom zien.</a:t>
            </a:r>
          </a:p>
        </p:txBody>
      </p:sp>
    </p:spTree>
    <p:extLst>
      <p:ext uri="{BB962C8B-B14F-4D97-AF65-F5344CB8AC3E}">
        <p14:creationId xmlns:p14="http://schemas.microsoft.com/office/powerpoint/2010/main" val="10713198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ABE98B0-3C8A-43C8-8200-5975A1E67A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82" name="think-cell Slide" r:id="rId5" imgW="306" imgH="306" progId="TCLayout.ActiveDocument.1">
                  <p:embed/>
                </p:oleObj>
              </mc:Choice>
              <mc:Fallback>
                <p:oleObj name="think-cell Slide" r:id="rId5" imgW="306" imgH="306" progId="TCLayout.ActiveDocument.1">
                  <p:embed/>
                  <p:pic>
                    <p:nvPicPr>
                      <p:cNvPr id="10" name="Object 9" hidden="1">
                        <a:extLst>
                          <a:ext uri="{FF2B5EF4-FFF2-40B4-BE49-F238E27FC236}">
                            <a16:creationId xmlns:a16="http://schemas.microsoft.com/office/drawing/2014/main" id="{CABE98B0-3C8A-43C8-8200-5975A1E67A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1442" name="Picture 2">
            <a:extLst>
              <a:ext uri="{FF2B5EF4-FFF2-40B4-BE49-F238E27FC236}">
                <a16:creationId xmlns:a16="http://schemas.microsoft.com/office/drawing/2014/main" id="{F31421FC-687C-4775-BBCA-9AC90E0C78E6}"/>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D85439E5-6E0C-4BFB-9E2A-FA280E638BDE}"/>
              </a:ext>
            </a:extLst>
          </p:cNvPr>
          <p:cNvSpPr/>
          <p:nvPr/>
        </p:nvSpPr>
        <p:spPr>
          <a:xfrm>
            <a:off x="0" y="-2"/>
            <a:ext cx="12191999" cy="6858001"/>
          </a:xfrm>
          <a:prstGeom prst="rect">
            <a:avLst/>
          </a:prstGeom>
          <a:solidFill>
            <a:schemeClr val="bg1">
              <a:lumMod val="95000"/>
              <a:alpha val="84000"/>
            </a:schemeClr>
          </a:solidFill>
          <a:ln>
            <a:noFill/>
          </a:ln>
        </p:spPr>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0" indent="0">
              <a:lnSpc>
                <a:spcPct val="100000"/>
              </a:lnSpc>
              <a:buNone/>
            </a:pPr>
            <a:r>
              <a:rPr lang="nl-NL" sz="4400" b="1" dirty="0">
                <a:solidFill>
                  <a:srgbClr val="22777B"/>
                </a:solidFill>
              </a:rPr>
              <a:t>Vraag 6</a:t>
            </a:r>
          </a:p>
          <a:p>
            <a:pPr marL="0" indent="0">
              <a:lnSpc>
                <a:spcPct val="100000"/>
              </a:lnSpc>
              <a:buNone/>
            </a:pPr>
            <a:br>
              <a:rPr lang="nl-NL" sz="2400" dirty="0"/>
            </a:br>
            <a:r>
              <a:rPr lang="nl-NL" sz="2400" dirty="0"/>
              <a:t>Bedankt voor de berekening en heldere toelichting. Er is veel maatschappelijke discussie rondom het lerarentekort. Veel gemeenten roepen dat ze last hebben van de situatie, maar het is nog niet duidelijk hoe de problematiek zich van stad tot stad verhoudt. Daarom heeft het Ministerie van OCW een eerste onderzoek gedaan om informatie te verzamelen. Aan jou de vraag wat je opvalt als je de informatie van de volgende slide ziet? </a:t>
            </a:r>
          </a:p>
        </p:txBody>
      </p:sp>
      <p:grpSp>
        <p:nvGrpSpPr>
          <p:cNvPr id="21" name="Group 20">
            <a:extLst>
              <a:ext uri="{FF2B5EF4-FFF2-40B4-BE49-F238E27FC236}">
                <a16:creationId xmlns:a16="http://schemas.microsoft.com/office/drawing/2014/main" id="{C5578B65-C922-42B5-B58E-017E05320628}"/>
              </a:ext>
            </a:extLst>
          </p:cNvPr>
          <p:cNvGrpSpPr/>
          <p:nvPr/>
        </p:nvGrpSpPr>
        <p:grpSpPr>
          <a:xfrm>
            <a:off x="2192835" y="237963"/>
            <a:ext cx="736493" cy="508712"/>
            <a:chOff x="2836863" y="3201988"/>
            <a:chExt cx="2001837" cy="1382712"/>
          </a:xfrm>
          <a:solidFill>
            <a:schemeClr val="tx2"/>
          </a:solidFill>
        </p:grpSpPr>
        <p:sp>
          <p:nvSpPr>
            <p:cNvPr id="22" name="Freeform 1">
              <a:extLst>
                <a:ext uri="{FF2B5EF4-FFF2-40B4-BE49-F238E27FC236}">
                  <a16:creationId xmlns:a16="http://schemas.microsoft.com/office/drawing/2014/main" id="{3B7896AF-670D-49F2-865F-D697DA861715}"/>
                </a:ext>
              </a:extLst>
            </p:cNvPr>
            <p:cNvSpPr>
              <a:spLocks noChangeArrowheads="1"/>
            </p:cNvSpPr>
            <p:nvPr/>
          </p:nvSpPr>
          <p:spPr bwMode="auto">
            <a:xfrm>
              <a:off x="2870200" y="3246438"/>
              <a:ext cx="1450975" cy="1247775"/>
            </a:xfrm>
            <a:custGeom>
              <a:avLst/>
              <a:gdLst>
                <a:gd name="T0" fmla="*/ 3625 w 4032"/>
                <a:gd name="T1" fmla="*/ 593 h 3468"/>
                <a:gd name="T2" fmla="*/ 3625 w 4032"/>
                <a:gd name="T3" fmla="*/ 593 h 3468"/>
                <a:gd name="T4" fmla="*/ 2000 w 4032"/>
                <a:gd name="T5" fmla="*/ 0 h 3468"/>
                <a:gd name="T6" fmla="*/ 593 w 4032"/>
                <a:gd name="T7" fmla="*/ 468 h 3468"/>
                <a:gd name="T8" fmla="*/ 593 w 4032"/>
                <a:gd name="T9" fmla="*/ 468 h 3468"/>
                <a:gd name="T10" fmla="*/ 31 w 4032"/>
                <a:gd name="T11" fmla="*/ 1531 h 3468"/>
                <a:gd name="T12" fmla="*/ 593 w 4032"/>
                <a:gd name="T13" fmla="*/ 2592 h 3468"/>
                <a:gd name="T14" fmla="*/ 500 w 4032"/>
                <a:gd name="T15" fmla="*/ 3374 h 3468"/>
                <a:gd name="T16" fmla="*/ 406 w 4032"/>
                <a:gd name="T17" fmla="*/ 3467 h 3468"/>
                <a:gd name="T18" fmla="*/ 531 w 4032"/>
                <a:gd name="T19" fmla="*/ 3467 h 3468"/>
                <a:gd name="T20" fmla="*/ 1343 w 4032"/>
                <a:gd name="T21" fmla="*/ 2967 h 3468"/>
                <a:gd name="T22" fmla="*/ 2093 w 4032"/>
                <a:gd name="T23" fmla="*/ 3030 h 3468"/>
                <a:gd name="T24" fmla="*/ 3531 w 4032"/>
                <a:gd name="T25" fmla="*/ 2592 h 3468"/>
                <a:gd name="T26" fmla="*/ 4031 w 4032"/>
                <a:gd name="T27" fmla="*/ 1531 h 3468"/>
                <a:gd name="T28" fmla="*/ 3625 w 4032"/>
                <a:gd name="T29" fmla="*/ 593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2" h="3468">
                  <a:moveTo>
                    <a:pt x="3625" y="593"/>
                  </a:moveTo>
                  <a:lnTo>
                    <a:pt x="3625" y="593"/>
                  </a:lnTo>
                  <a:cubicBezTo>
                    <a:pt x="3250" y="218"/>
                    <a:pt x="2625" y="0"/>
                    <a:pt x="2000" y="0"/>
                  </a:cubicBezTo>
                  <a:cubicBezTo>
                    <a:pt x="1468" y="0"/>
                    <a:pt x="1000" y="156"/>
                    <a:pt x="593" y="468"/>
                  </a:cubicBezTo>
                  <a:lnTo>
                    <a:pt x="593" y="468"/>
                  </a:lnTo>
                  <a:cubicBezTo>
                    <a:pt x="218" y="781"/>
                    <a:pt x="0" y="1156"/>
                    <a:pt x="31" y="1531"/>
                  </a:cubicBezTo>
                  <a:cubicBezTo>
                    <a:pt x="62" y="2217"/>
                    <a:pt x="500" y="2530"/>
                    <a:pt x="593" y="2592"/>
                  </a:cubicBezTo>
                  <a:cubicBezTo>
                    <a:pt x="625" y="2717"/>
                    <a:pt x="687" y="3092"/>
                    <a:pt x="500" y="3374"/>
                  </a:cubicBezTo>
                  <a:cubicBezTo>
                    <a:pt x="406" y="3467"/>
                    <a:pt x="406" y="3467"/>
                    <a:pt x="406" y="3467"/>
                  </a:cubicBezTo>
                  <a:cubicBezTo>
                    <a:pt x="531" y="3467"/>
                    <a:pt x="531" y="3467"/>
                    <a:pt x="531" y="3467"/>
                  </a:cubicBezTo>
                  <a:cubicBezTo>
                    <a:pt x="1000" y="3436"/>
                    <a:pt x="1281" y="3092"/>
                    <a:pt x="1343" y="2967"/>
                  </a:cubicBezTo>
                  <a:cubicBezTo>
                    <a:pt x="1437" y="2999"/>
                    <a:pt x="1718" y="3061"/>
                    <a:pt x="2093" y="3030"/>
                  </a:cubicBezTo>
                  <a:cubicBezTo>
                    <a:pt x="2656" y="3030"/>
                    <a:pt x="3156" y="2874"/>
                    <a:pt x="3531" y="2592"/>
                  </a:cubicBezTo>
                  <a:cubicBezTo>
                    <a:pt x="3843" y="2280"/>
                    <a:pt x="4031" y="1905"/>
                    <a:pt x="4031" y="1531"/>
                  </a:cubicBezTo>
                  <a:cubicBezTo>
                    <a:pt x="4031" y="1218"/>
                    <a:pt x="3906" y="906"/>
                    <a:pt x="3625" y="5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3" name="Freeform 2">
              <a:extLst>
                <a:ext uri="{FF2B5EF4-FFF2-40B4-BE49-F238E27FC236}">
                  <a16:creationId xmlns:a16="http://schemas.microsoft.com/office/drawing/2014/main" id="{CAD3F577-FAD4-4169-913E-31809A4FFBDC}"/>
                </a:ext>
              </a:extLst>
            </p:cNvPr>
            <p:cNvSpPr>
              <a:spLocks noChangeArrowheads="1"/>
            </p:cNvSpPr>
            <p:nvPr/>
          </p:nvSpPr>
          <p:spPr bwMode="auto">
            <a:xfrm>
              <a:off x="3983038" y="3201988"/>
              <a:ext cx="855662" cy="1338262"/>
            </a:xfrm>
            <a:custGeom>
              <a:avLst/>
              <a:gdLst>
                <a:gd name="T0" fmla="*/ 1781 w 2376"/>
                <a:gd name="T1" fmla="*/ 2811 h 3718"/>
                <a:gd name="T2" fmla="*/ 1781 w 2376"/>
                <a:gd name="T3" fmla="*/ 2811 h 3718"/>
                <a:gd name="T4" fmla="*/ 2375 w 2376"/>
                <a:gd name="T5" fmla="*/ 1687 h 3718"/>
                <a:gd name="T6" fmla="*/ 1750 w 2376"/>
                <a:gd name="T7" fmla="*/ 500 h 3718"/>
                <a:gd name="T8" fmla="*/ 282 w 2376"/>
                <a:gd name="T9" fmla="*/ 0 h 3718"/>
                <a:gd name="T10" fmla="*/ 0 w 2376"/>
                <a:gd name="T11" fmla="*/ 31 h 3718"/>
                <a:gd name="T12" fmla="*/ 782 w 2376"/>
                <a:gd name="T13" fmla="*/ 531 h 3718"/>
                <a:gd name="T14" fmla="*/ 1250 w 2376"/>
                <a:gd name="T15" fmla="*/ 1656 h 3718"/>
                <a:gd name="T16" fmla="*/ 625 w 2376"/>
                <a:gd name="T17" fmla="*/ 2905 h 3718"/>
                <a:gd name="T18" fmla="*/ 0 w 2376"/>
                <a:gd name="T19" fmla="*/ 3280 h 3718"/>
                <a:gd name="T20" fmla="*/ 875 w 2376"/>
                <a:gd name="T21" fmla="*/ 3249 h 3718"/>
                <a:gd name="T22" fmla="*/ 1938 w 2376"/>
                <a:gd name="T23" fmla="*/ 3717 h 3718"/>
                <a:gd name="T24" fmla="*/ 2219 w 2376"/>
                <a:gd name="T25" fmla="*/ 3717 h 3718"/>
                <a:gd name="T26" fmla="*/ 2032 w 2376"/>
                <a:gd name="T27" fmla="*/ 3530 h 3718"/>
                <a:gd name="T28" fmla="*/ 1781 w 2376"/>
                <a:gd name="T29" fmla="*/ 2811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6" h="3718">
                  <a:moveTo>
                    <a:pt x="1781" y="2811"/>
                  </a:moveTo>
                  <a:lnTo>
                    <a:pt x="1781" y="2811"/>
                  </a:lnTo>
                  <a:cubicBezTo>
                    <a:pt x="2157" y="2499"/>
                    <a:pt x="2375" y="2092"/>
                    <a:pt x="2375" y="1687"/>
                  </a:cubicBezTo>
                  <a:cubicBezTo>
                    <a:pt x="2375" y="1218"/>
                    <a:pt x="2188" y="812"/>
                    <a:pt x="1750" y="500"/>
                  </a:cubicBezTo>
                  <a:cubicBezTo>
                    <a:pt x="1344" y="187"/>
                    <a:pt x="844" y="0"/>
                    <a:pt x="282" y="0"/>
                  </a:cubicBezTo>
                  <a:cubicBezTo>
                    <a:pt x="188" y="0"/>
                    <a:pt x="94" y="0"/>
                    <a:pt x="0" y="31"/>
                  </a:cubicBezTo>
                  <a:cubicBezTo>
                    <a:pt x="282" y="125"/>
                    <a:pt x="563" y="312"/>
                    <a:pt x="782" y="531"/>
                  </a:cubicBezTo>
                  <a:cubicBezTo>
                    <a:pt x="1094" y="843"/>
                    <a:pt x="1250" y="1218"/>
                    <a:pt x="1250" y="1656"/>
                  </a:cubicBezTo>
                  <a:cubicBezTo>
                    <a:pt x="1250" y="2124"/>
                    <a:pt x="1032" y="2592"/>
                    <a:pt x="625" y="2905"/>
                  </a:cubicBezTo>
                  <a:cubicBezTo>
                    <a:pt x="438" y="3061"/>
                    <a:pt x="219" y="3186"/>
                    <a:pt x="0" y="3280"/>
                  </a:cubicBezTo>
                  <a:cubicBezTo>
                    <a:pt x="282" y="3311"/>
                    <a:pt x="563" y="3280"/>
                    <a:pt x="875" y="3249"/>
                  </a:cubicBezTo>
                  <a:cubicBezTo>
                    <a:pt x="1125" y="3561"/>
                    <a:pt x="1469" y="3717"/>
                    <a:pt x="1938" y="3717"/>
                  </a:cubicBezTo>
                  <a:cubicBezTo>
                    <a:pt x="2219" y="3717"/>
                    <a:pt x="2219" y="3717"/>
                    <a:pt x="2219" y="3717"/>
                  </a:cubicBezTo>
                  <a:cubicBezTo>
                    <a:pt x="2032" y="3530"/>
                    <a:pt x="2032" y="3530"/>
                    <a:pt x="2032" y="3530"/>
                  </a:cubicBezTo>
                  <a:cubicBezTo>
                    <a:pt x="1813" y="3311"/>
                    <a:pt x="1750" y="3092"/>
                    <a:pt x="1781" y="28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4" name="Freeform 3">
              <a:extLst>
                <a:ext uri="{FF2B5EF4-FFF2-40B4-BE49-F238E27FC236}">
                  <a16:creationId xmlns:a16="http://schemas.microsoft.com/office/drawing/2014/main" id="{8EDCAE06-9FA2-4B47-B181-6930B4A19E56}"/>
                </a:ext>
              </a:extLst>
            </p:cNvPr>
            <p:cNvSpPr>
              <a:spLocks noChangeArrowheads="1"/>
            </p:cNvSpPr>
            <p:nvPr/>
          </p:nvSpPr>
          <p:spPr bwMode="auto">
            <a:xfrm>
              <a:off x="2836863" y="3201988"/>
              <a:ext cx="1530350" cy="1382712"/>
            </a:xfrm>
            <a:custGeom>
              <a:avLst/>
              <a:gdLst>
                <a:gd name="T0" fmla="*/ 219 w 4251"/>
                <a:gd name="T1" fmla="*/ 3717 h 3843"/>
                <a:gd name="T2" fmla="*/ 219 w 4251"/>
                <a:gd name="T3" fmla="*/ 3717 h 3843"/>
                <a:gd name="T4" fmla="*/ 594 w 4251"/>
                <a:gd name="T5" fmla="*/ 2811 h 3843"/>
                <a:gd name="T6" fmla="*/ 0 w 4251"/>
                <a:gd name="T7" fmla="*/ 1656 h 3843"/>
                <a:gd name="T8" fmla="*/ 625 w 4251"/>
                <a:gd name="T9" fmla="*/ 500 h 3843"/>
                <a:gd name="T10" fmla="*/ 2094 w 4251"/>
                <a:gd name="T11" fmla="*/ 0 h 3843"/>
                <a:gd name="T12" fmla="*/ 2094 w 4251"/>
                <a:gd name="T13" fmla="*/ 0 h 3843"/>
                <a:gd name="T14" fmla="*/ 3781 w 4251"/>
                <a:gd name="T15" fmla="*/ 625 h 3843"/>
                <a:gd name="T16" fmla="*/ 4250 w 4251"/>
                <a:gd name="T17" fmla="*/ 1656 h 3843"/>
                <a:gd name="T18" fmla="*/ 3656 w 4251"/>
                <a:gd name="T19" fmla="*/ 2780 h 3843"/>
                <a:gd name="T20" fmla="*/ 1469 w 4251"/>
                <a:gd name="T21" fmla="*/ 3217 h 3843"/>
                <a:gd name="T22" fmla="*/ 219 w 4251"/>
                <a:gd name="T23" fmla="*/ 3717 h 3843"/>
                <a:gd name="T24" fmla="*/ 719 w 4251"/>
                <a:gd name="T25" fmla="*/ 625 h 3843"/>
                <a:gd name="T26" fmla="*/ 719 w 4251"/>
                <a:gd name="T27" fmla="*/ 625 h 3843"/>
                <a:gd name="T28" fmla="*/ 187 w 4251"/>
                <a:gd name="T29" fmla="*/ 1656 h 3843"/>
                <a:gd name="T30" fmla="*/ 750 w 4251"/>
                <a:gd name="T31" fmla="*/ 2686 h 3843"/>
                <a:gd name="T32" fmla="*/ 625 w 4251"/>
                <a:gd name="T33" fmla="*/ 3530 h 3843"/>
                <a:gd name="T34" fmla="*/ 1406 w 4251"/>
                <a:gd name="T35" fmla="*/ 3030 h 3843"/>
                <a:gd name="T36" fmla="*/ 3562 w 4251"/>
                <a:gd name="T37" fmla="*/ 2655 h 3843"/>
                <a:gd name="T38" fmla="*/ 4062 w 4251"/>
                <a:gd name="T39" fmla="*/ 1656 h 3843"/>
                <a:gd name="T40" fmla="*/ 3656 w 4251"/>
                <a:gd name="T41" fmla="*/ 750 h 3843"/>
                <a:gd name="T42" fmla="*/ 2094 w 4251"/>
                <a:gd name="T43" fmla="*/ 187 h 3843"/>
                <a:gd name="T44" fmla="*/ 719 w 4251"/>
                <a:gd name="T45" fmla="*/ 625 h 3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51" h="3843">
                  <a:moveTo>
                    <a:pt x="219" y="3717"/>
                  </a:moveTo>
                  <a:lnTo>
                    <a:pt x="219" y="3717"/>
                  </a:lnTo>
                  <a:cubicBezTo>
                    <a:pt x="219" y="3717"/>
                    <a:pt x="656" y="3342"/>
                    <a:pt x="594" y="2811"/>
                  </a:cubicBezTo>
                  <a:cubicBezTo>
                    <a:pt x="219" y="2499"/>
                    <a:pt x="0" y="2092"/>
                    <a:pt x="0" y="1656"/>
                  </a:cubicBezTo>
                  <a:cubicBezTo>
                    <a:pt x="0" y="1218"/>
                    <a:pt x="219" y="812"/>
                    <a:pt x="625" y="500"/>
                  </a:cubicBezTo>
                  <a:cubicBezTo>
                    <a:pt x="1031" y="187"/>
                    <a:pt x="1531" y="0"/>
                    <a:pt x="2094" y="0"/>
                  </a:cubicBezTo>
                  <a:lnTo>
                    <a:pt x="2094" y="0"/>
                  </a:lnTo>
                  <a:cubicBezTo>
                    <a:pt x="2781" y="0"/>
                    <a:pt x="3375" y="218"/>
                    <a:pt x="3781" y="625"/>
                  </a:cubicBezTo>
                  <a:cubicBezTo>
                    <a:pt x="4094" y="937"/>
                    <a:pt x="4250" y="1281"/>
                    <a:pt x="4250" y="1656"/>
                  </a:cubicBezTo>
                  <a:cubicBezTo>
                    <a:pt x="4250" y="2092"/>
                    <a:pt x="4031" y="2499"/>
                    <a:pt x="3656" y="2780"/>
                  </a:cubicBezTo>
                  <a:cubicBezTo>
                    <a:pt x="3125" y="3217"/>
                    <a:pt x="2344" y="3374"/>
                    <a:pt x="1469" y="3217"/>
                  </a:cubicBezTo>
                  <a:cubicBezTo>
                    <a:pt x="1125" y="3842"/>
                    <a:pt x="219" y="3717"/>
                    <a:pt x="219" y="3717"/>
                  </a:cubicBezTo>
                  <a:close/>
                  <a:moveTo>
                    <a:pt x="719" y="625"/>
                  </a:moveTo>
                  <a:lnTo>
                    <a:pt x="719" y="625"/>
                  </a:lnTo>
                  <a:cubicBezTo>
                    <a:pt x="375" y="906"/>
                    <a:pt x="156" y="1281"/>
                    <a:pt x="187" y="1656"/>
                  </a:cubicBezTo>
                  <a:cubicBezTo>
                    <a:pt x="219" y="2374"/>
                    <a:pt x="750" y="2686"/>
                    <a:pt x="750" y="2686"/>
                  </a:cubicBezTo>
                  <a:cubicBezTo>
                    <a:pt x="750" y="2686"/>
                    <a:pt x="875" y="3186"/>
                    <a:pt x="625" y="3530"/>
                  </a:cubicBezTo>
                  <a:cubicBezTo>
                    <a:pt x="1125" y="3499"/>
                    <a:pt x="1406" y="3030"/>
                    <a:pt x="1406" y="3030"/>
                  </a:cubicBezTo>
                  <a:cubicBezTo>
                    <a:pt x="1406" y="3030"/>
                    <a:pt x="2719" y="3342"/>
                    <a:pt x="3562" y="2655"/>
                  </a:cubicBezTo>
                  <a:cubicBezTo>
                    <a:pt x="3875" y="2374"/>
                    <a:pt x="4062" y="2030"/>
                    <a:pt x="4062" y="1656"/>
                  </a:cubicBezTo>
                  <a:cubicBezTo>
                    <a:pt x="4062" y="1312"/>
                    <a:pt x="3906" y="1031"/>
                    <a:pt x="3656" y="750"/>
                  </a:cubicBezTo>
                  <a:cubicBezTo>
                    <a:pt x="3281" y="375"/>
                    <a:pt x="2656" y="187"/>
                    <a:pt x="2094" y="187"/>
                  </a:cubicBezTo>
                  <a:cubicBezTo>
                    <a:pt x="1562" y="187"/>
                    <a:pt x="1094" y="343"/>
                    <a:pt x="719" y="62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26" name="Oval 25">
            <a:extLst>
              <a:ext uri="{FF2B5EF4-FFF2-40B4-BE49-F238E27FC236}">
                <a16:creationId xmlns:a16="http://schemas.microsoft.com/office/drawing/2014/main" id="{E7F6F025-B804-47B6-B5C5-C4B1D5F079DE}"/>
              </a:ext>
            </a:extLst>
          </p:cNvPr>
          <p:cNvSpPr/>
          <p:nvPr/>
        </p:nvSpPr>
        <p:spPr>
          <a:xfrm>
            <a:off x="11008413" y="36609"/>
            <a:ext cx="148708" cy="148708"/>
          </a:xfrm>
          <a:prstGeom prst="ellipse">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95C5C9"/>
              </a:solidFill>
              <a:effectLst/>
              <a:uLnTx/>
              <a:uFillTx/>
              <a:latin typeface="Corbel" panose="020B0503020204020204" pitchFamily="34" charset="0"/>
              <a:ea typeface="+mn-ea"/>
              <a:cs typeface="+mn-cs"/>
            </a:endParaRPr>
          </a:p>
        </p:txBody>
      </p:sp>
      <p:sp>
        <p:nvSpPr>
          <p:cNvPr id="27" name="TextBox 26">
            <a:extLst>
              <a:ext uri="{FF2B5EF4-FFF2-40B4-BE49-F238E27FC236}">
                <a16:creationId xmlns:a16="http://schemas.microsoft.com/office/drawing/2014/main" id="{EC10D3C5-EADE-45A0-AA88-C53BE0702C8A}"/>
              </a:ext>
            </a:extLst>
          </p:cNvPr>
          <p:cNvSpPr txBox="1"/>
          <p:nvPr/>
        </p:nvSpPr>
        <p:spPr>
          <a:xfrm>
            <a:off x="10067055"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1</a:t>
            </a:r>
            <a:endParaRPr lang="nl-NL" noProof="0" dirty="0">
              <a:solidFill>
                <a:srgbClr val="95C5C9"/>
              </a:solidFill>
            </a:endParaRPr>
          </a:p>
        </p:txBody>
      </p:sp>
      <p:sp>
        <p:nvSpPr>
          <p:cNvPr id="28" name="TextBox 27">
            <a:extLst>
              <a:ext uri="{FF2B5EF4-FFF2-40B4-BE49-F238E27FC236}">
                <a16:creationId xmlns:a16="http://schemas.microsoft.com/office/drawing/2014/main" id="{C9133386-A3CF-400C-BF7D-0B53E06D00A2}"/>
              </a:ext>
            </a:extLst>
          </p:cNvPr>
          <p:cNvSpPr txBox="1"/>
          <p:nvPr/>
        </p:nvSpPr>
        <p:spPr>
          <a:xfrm>
            <a:off x="10256482"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2</a:t>
            </a:r>
          </a:p>
        </p:txBody>
      </p:sp>
      <p:sp>
        <p:nvSpPr>
          <p:cNvPr id="29" name="TextBox 28">
            <a:extLst>
              <a:ext uri="{FF2B5EF4-FFF2-40B4-BE49-F238E27FC236}">
                <a16:creationId xmlns:a16="http://schemas.microsoft.com/office/drawing/2014/main" id="{16251E6A-6BA5-49A3-8DCF-40FB893E6E83}"/>
              </a:ext>
            </a:extLst>
          </p:cNvPr>
          <p:cNvSpPr txBox="1"/>
          <p:nvPr/>
        </p:nvSpPr>
        <p:spPr>
          <a:xfrm>
            <a:off x="10445909"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3</a:t>
            </a:r>
          </a:p>
        </p:txBody>
      </p:sp>
      <p:sp>
        <p:nvSpPr>
          <p:cNvPr id="30" name="TextBox 29">
            <a:extLst>
              <a:ext uri="{FF2B5EF4-FFF2-40B4-BE49-F238E27FC236}">
                <a16:creationId xmlns:a16="http://schemas.microsoft.com/office/drawing/2014/main" id="{393C32B4-BCAD-4141-9625-7B92B65153CB}"/>
              </a:ext>
            </a:extLst>
          </p:cNvPr>
          <p:cNvSpPr txBox="1"/>
          <p:nvPr/>
        </p:nvSpPr>
        <p:spPr>
          <a:xfrm>
            <a:off x="10635336"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4</a:t>
            </a:r>
            <a:endParaRPr lang="nl-NL" noProof="0" dirty="0">
              <a:solidFill>
                <a:srgbClr val="95C5C9"/>
              </a:solidFill>
            </a:endParaRPr>
          </a:p>
        </p:txBody>
      </p:sp>
      <p:sp>
        <p:nvSpPr>
          <p:cNvPr id="31" name="TextBox 30">
            <a:extLst>
              <a:ext uri="{FF2B5EF4-FFF2-40B4-BE49-F238E27FC236}">
                <a16:creationId xmlns:a16="http://schemas.microsoft.com/office/drawing/2014/main" id="{814CDB1C-7D78-4BE6-BB5D-BDA89DB0FB1E}"/>
              </a:ext>
            </a:extLst>
          </p:cNvPr>
          <p:cNvSpPr txBox="1"/>
          <p:nvPr/>
        </p:nvSpPr>
        <p:spPr>
          <a:xfrm>
            <a:off x="10824763"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5</a:t>
            </a:r>
            <a:endParaRPr lang="nl-NL" sz="1000" noProof="0" dirty="0">
              <a:solidFill>
                <a:srgbClr val="95C5C9"/>
              </a:solidFill>
            </a:endParaRPr>
          </a:p>
        </p:txBody>
      </p:sp>
      <p:sp>
        <p:nvSpPr>
          <p:cNvPr id="32" name="TextBox 31">
            <a:extLst>
              <a:ext uri="{FF2B5EF4-FFF2-40B4-BE49-F238E27FC236}">
                <a16:creationId xmlns:a16="http://schemas.microsoft.com/office/drawing/2014/main" id="{E2AB1C95-CDEC-4B68-825E-8382E02EFF9C}"/>
              </a:ext>
            </a:extLst>
          </p:cNvPr>
          <p:cNvSpPr txBox="1"/>
          <p:nvPr/>
        </p:nvSpPr>
        <p:spPr>
          <a:xfrm>
            <a:off x="11014190" y="40328"/>
            <a:ext cx="137154" cy="141270"/>
          </a:xfrm>
          <a:prstGeom prst="rect">
            <a:avLst/>
          </a:prstGeom>
        </p:spPr>
        <p:txBody>
          <a:bodyPr vert="horz" wrap="square" lIns="0" tIns="0" rIns="0" bIns="0" rtlCol="0" anchor="ctr">
            <a:noAutofit/>
          </a:bodyPr>
          <a:lstStyle/>
          <a:p>
            <a:pPr marL="0" indent="0" algn="ctr">
              <a:buNone/>
            </a:pPr>
            <a:r>
              <a:rPr lang="nl-NL" sz="1000" b="1" noProof="0" dirty="0">
                <a:solidFill>
                  <a:srgbClr val="95C5C9"/>
                </a:solidFill>
              </a:rPr>
              <a:t>6</a:t>
            </a:r>
          </a:p>
        </p:txBody>
      </p:sp>
      <p:sp>
        <p:nvSpPr>
          <p:cNvPr id="33" name="TextBox 32">
            <a:extLst>
              <a:ext uri="{FF2B5EF4-FFF2-40B4-BE49-F238E27FC236}">
                <a16:creationId xmlns:a16="http://schemas.microsoft.com/office/drawing/2014/main" id="{2E7E2BAA-E423-4415-8890-F65FC1644A1E}"/>
              </a:ext>
            </a:extLst>
          </p:cNvPr>
          <p:cNvSpPr txBox="1"/>
          <p:nvPr/>
        </p:nvSpPr>
        <p:spPr>
          <a:xfrm>
            <a:off x="11203617"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7</a:t>
            </a:r>
            <a:endParaRPr lang="nl-NL" sz="1000" noProof="0" dirty="0">
              <a:solidFill>
                <a:srgbClr val="95C5C9"/>
              </a:solidFill>
            </a:endParaRPr>
          </a:p>
        </p:txBody>
      </p:sp>
    </p:spTree>
    <p:extLst>
      <p:ext uri="{BB962C8B-B14F-4D97-AF65-F5344CB8AC3E}">
        <p14:creationId xmlns:p14="http://schemas.microsoft.com/office/powerpoint/2010/main" val="20285935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ABE98B0-3C8A-43C8-8200-5975A1E67A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06"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CABE98B0-3C8A-43C8-8200-5975A1E67A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1442" name="Picture 2">
            <a:extLst>
              <a:ext uri="{FF2B5EF4-FFF2-40B4-BE49-F238E27FC236}">
                <a16:creationId xmlns:a16="http://schemas.microsoft.com/office/drawing/2014/main" id="{F31421FC-687C-4775-BBCA-9AC90E0C78E6}"/>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D85439E5-6E0C-4BFB-9E2A-FA280E638BDE}"/>
              </a:ext>
            </a:extLst>
          </p:cNvPr>
          <p:cNvSpPr/>
          <p:nvPr/>
        </p:nvSpPr>
        <p:spPr>
          <a:xfrm>
            <a:off x="0" y="-2"/>
            <a:ext cx="12192000" cy="6858001"/>
          </a:xfrm>
          <a:prstGeom prst="rect">
            <a:avLst/>
          </a:prstGeom>
          <a:solidFill>
            <a:schemeClr val="bg1">
              <a:lumMod val="95000"/>
              <a:alpha val="84000"/>
            </a:schemeClr>
          </a:solidFill>
          <a:ln>
            <a:noFill/>
          </a:ln>
        </p:spPr>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0" indent="0">
              <a:lnSpc>
                <a:spcPct val="100000"/>
              </a:lnSpc>
              <a:buNone/>
            </a:pPr>
            <a:r>
              <a:rPr lang="nl-NL" sz="4400" b="1" dirty="0">
                <a:solidFill>
                  <a:srgbClr val="22777B"/>
                </a:solidFill>
              </a:rPr>
              <a:t>Vraag 6 - Informatie</a:t>
            </a:r>
          </a:p>
          <a:p>
            <a:pPr marL="0" indent="0">
              <a:lnSpc>
                <a:spcPct val="100000"/>
              </a:lnSpc>
              <a:buNone/>
            </a:pPr>
            <a:br>
              <a:rPr lang="nl-NL" sz="2400" b="1" dirty="0">
                <a:solidFill>
                  <a:schemeClr val="tx1"/>
                </a:solidFill>
              </a:rPr>
            </a:br>
            <a:endParaRPr kumimoji="0" lang="nl-NL" sz="24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endParaRPr>
          </a:p>
        </p:txBody>
      </p:sp>
      <p:graphicFrame>
        <p:nvGraphicFramePr>
          <p:cNvPr id="25" name="Table 24">
            <a:extLst>
              <a:ext uri="{FF2B5EF4-FFF2-40B4-BE49-F238E27FC236}">
                <a16:creationId xmlns:a16="http://schemas.microsoft.com/office/drawing/2014/main" id="{1F4F4DE7-0756-4637-B50B-9592023E84F7}"/>
              </a:ext>
            </a:extLst>
          </p:cNvPr>
          <p:cNvGraphicFramePr>
            <a:graphicFrameLocks noGrp="1"/>
          </p:cNvGraphicFramePr>
          <p:nvPr>
            <p:extLst>
              <p:ext uri="{D42A27DB-BD31-4B8C-83A1-F6EECF244321}">
                <p14:modId xmlns:p14="http://schemas.microsoft.com/office/powerpoint/2010/main" val="4275564439"/>
              </p:ext>
            </p:extLst>
          </p:nvPr>
        </p:nvGraphicFramePr>
        <p:xfrm>
          <a:off x="474326" y="1851307"/>
          <a:ext cx="10309056" cy="3957907"/>
        </p:xfrm>
        <a:graphic>
          <a:graphicData uri="http://schemas.openxmlformats.org/drawingml/2006/table">
            <a:tbl>
              <a:tblPr firstRow="1" bandRow="1">
                <a:tableStyleId>{5C22544A-7EE6-4342-B048-85BDC9FD1C3A}</a:tableStyleId>
              </a:tblPr>
              <a:tblGrid>
                <a:gridCol w="988119">
                  <a:extLst>
                    <a:ext uri="{9D8B030D-6E8A-4147-A177-3AD203B41FA5}">
                      <a16:colId xmlns:a16="http://schemas.microsoft.com/office/drawing/2014/main" val="2689131710"/>
                    </a:ext>
                  </a:extLst>
                </a:gridCol>
                <a:gridCol w="988119">
                  <a:extLst>
                    <a:ext uri="{9D8B030D-6E8A-4147-A177-3AD203B41FA5}">
                      <a16:colId xmlns:a16="http://schemas.microsoft.com/office/drawing/2014/main" val="173574906"/>
                    </a:ext>
                  </a:extLst>
                </a:gridCol>
                <a:gridCol w="988119">
                  <a:extLst>
                    <a:ext uri="{9D8B030D-6E8A-4147-A177-3AD203B41FA5}">
                      <a16:colId xmlns:a16="http://schemas.microsoft.com/office/drawing/2014/main" val="46366419"/>
                    </a:ext>
                  </a:extLst>
                </a:gridCol>
                <a:gridCol w="988119">
                  <a:extLst>
                    <a:ext uri="{9D8B030D-6E8A-4147-A177-3AD203B41FA5}">
                      <a16:colId xmlns:a16="http://schemas.microsoft.com/office/drawing/2014/main" val="1898718454"/>
                    </a:ext>
                  </a:extLst>
                </a:gridCol>
                <a:gridCol w="988119">
                  <a:extLst>
                    <a:ext uri="{9D8B030D-6E8A-4147-A177-3AD203B41FA5}">
                      <a16:colId xmlns:a16="http://schemas.microsoft.com/office/drawing/2014/main" val="448222561"/>
                    </a:ext>
                  </a:extLst>
                </a:gridCol>
                <a:gridCol w="208487">
                  <a:extLst>
                    <a:ext uri="{9D8B030D-6E8A-4147-A177-3AD203B41FA5}">
                      <a16:colId xmlns:a16="http://schemas.microsoft.com/office/drawing/2014/main" val="3698046819"/>
                    </a:ext>
                  </a:extLst>
                </a:gridCol>
                <a:gridCol w="988119">
                  <a:extLst>
                    <a:ext uri="{9D8B030D-6E8A-4147-A177-3AD203B41FA5}">
                      <a16:colId xmlns:a16="http://schemas.microsoft.com/office/drawing/2014/main" val="3458764735"/>
                    </a:ext>
                  </a:extLst>
                </a:gridCol>
                <a:gridCol w="988119">
                  <a:extLst>
                    <a:ext uri="{9D8B030D-6E8A-4147-A177-3AD203B41FA5}">
                      <a16:colId xmlns:a16="http://schemas.microsoft.com/office/drawing/2014/main" val="2731493767"/>
                    </a:ext>
                  </a:extLst>
                </a:gridCol>
                <a:gridCol w="988119">
                  <a:extLst>
                    <a:ext uri="{9D8B030D-6E8A-4147-A177-3AD203B41FA5}">
                      <a16:colId xmlns:a16="http://schemas.microsoft.com/office/drawing/2014/main" val="2140919835"/>
                    </a:ext>
                  </a:extLst>
                </a:gridCol>
                <a:gridCol w="208280">
                  <a:extLst>
                    <a:ext uri="{9D8B030D-6E8A-4147-A177-3AD203B41FA5}">
                      <a16:colId xmlns:a16="http://schemas.microsoft.com/office/drawing/2014/main" val="3090673600"/>
                    </a:ext>
                  </a:extLst>
                </a:gridCol>
                <a:gridCol w="999218">
                  <a:extLst>
                    <a:ext uri="{9D8B030D-6E8A-4147-A177-3AD203B41FA5}">
                      <a16:colId xmlns:a16="http://schemas.microsoft.com/office/drawing/2014/main" val="2231833764"/>
                    </a:ext>
                  </a:extLst>
                </a:gridCol>
                <a:gridCol w="988119">
                  <a:extLst>
                    <a:ext uri="{9D8B030D-6E8A-4147-A177-3AD203B41FA5}">
                      <a16:colId xmlns:a16="http://schemas.microsoft.com/office/drawing/2014/main" val="298269349"/>
                    </a:ext>
                  </a:extLst>
                </a:gridCol>
              </a:tblGrid>
              <a:tr h="499949">
                <a:tc>
                  <a:txBody>
                    <a:bodyPr/>
                    <a:lstStyle/>
                    <a:p>
                      <a:pPr algn="ctr"/>
                      <a:r>
                        <a:rPr lang="nl-NL" sz="1200" dirty="0"/>
                        <a:t>Regio</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2777B"/>
                    </a:solidFill>
                  </a:tcPr>
                </a:tc>
                <a:tc>
                  <a:txBody>
                    <a:bodyPr/>
                    <a:lstStyle/>
                    <a:p>
                      <a:pPr algn="ctr"/>
                      <a:r>
                        <a:rPr lang="nl-NL" sz="1200" dirty="0"/>
                        <a:t>Inwoners ’22 ( x1.00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2777B"/>
                    </a:solidFill>
                  </a:tcPr>
                </a:tc>
                <a:tc>
                  <a:txBody>
                    <a:bodyPr/>
                    <a:lstStyle/>
                    <a:p>
                      <a:pPr algn="ctr"/>
                      <a:r>
                        <a:rPr lang="nl-NL" sz="1200" dirty="0"/>
                        <a:t>Behoefte ’2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2777B"/>
                    </a:solidFill>
                  </a:tcPr>
                </a:tc>
                <a:tc>
                  <a:txBody>
                    <a:bodyPr/>
                    <a:lstStyle/>
                    <a:p>
                      <a:pPr algn="ctr"/>
                      <a:r>
                        <a:rPr lang="nl-NL" sz="1200" dirty="0"/>
                        <a:t>Groei/Krimp</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2777B"/>
                    </a:solidFill>
                  </a:tcPr>
                </a:tc>
                <a:tc>
                  <a:txBody>
                    <a:bodyPr/>
                    <a:lstStyle/>
                    <a:p>
                      <a:pPr algn="ctr"/>
                      <a:r>
                        <a:rPr lang="nl-NL" sz="1200" dirty="0"/>
                        <a:t>Behoefte ‘26</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2777B"/>
                    </a:solidFill>
                  </a:tcPr>
                </a:tc>
                <a:tc>
                  <a:txBody>
                    <a:bodyPr/>
                    <a:lstStyle/>
                    <a:p>
                      <a:pPr algn="ctr"/>
                      <a:endParaRPr lang="nl-NL" sz="12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2777B"/>
                    </a:solidFill>
                  </a:tcPr>
                </a:tc>
                <a:tc>
                  <a:txBody>
                    <a:bodyPr/>
                    <a:lstStyle/>
                    <a:p>
                      <a:pPr algn="ctr"/>
                      <a:r>
                        <a:rPr lang="nl-NL" sz="1200" dirty="0"/>
                        <a:t>Aanbod leraren ’26</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2777B"/>
                    </a:solidFill>
                  </a:tcPr>
                </a:tc>
                <a:tc>
                  <a:txBody>
                    <a:bodyPr/>
                    <a:lstStyle/>
                    <a:p>
                      <a:pPr algn="ctr"/>
                      <a:r>
                        <a:rPr lang="nl-NL" sz="1200" dirty="0"/>
                        <a:t>Groei/Krimp</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2777B"/>
                    </a:solidFill>
                  </a:tcPr>
                </a:tc>
                <a:tc>
                  <a:txBody>
                    <a:bodyPr/>
                    <a:lstStyle/>
                    <a:p>
                      <a:pPr algn="ctr"/>
                      <a:r>
                        <a:rPr lang="nl-NL" sz="1200" dirty="0"/>
                        <a:t>Aanbod</a:t>
                      </a:r>
                      <a:br>
                        <a:rPr lang="nl-NL" sz="1200" dirty="0"/>
                      </a:br>
                      <a:r>
                        <a:rPr lang="nl-NL" sz="1200" dirty="0"/>
                        <a:t>leraren ’26</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2777B"/>
                    </a:solidFill>
                  </a:tcPr>
                </a:tc>
                <a:tc>
                  <a:txBody>
                    <a:bodyPr/>
                    <a:lstStyle/>
                    <a:p>
                      <a:pPr algn="ctr"/>
                      <a:endParaRPr lang="nl-NL" sz="12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2777B"/>
                    </a:solidFill>
                  </a:tcPr>
                </a:tc>
                <a:tc>
                  <a:txBody>
                    <a:bodyPr/>
                    <a:lstStyle/>
                    <a:p>
                      <a:pPr algn="ctr"/>
                      <a:r>
                        <a:rPr lang="nl-NL" sz="1200" dirty="0"/>
                        <a:t>Vacatures ’22 </a:t>
                      </a:r>
                      <a:r>
                        <a:rPr lang="nl-NL" sz="1000" dirty="0"/>
                        <a:t>(tekort %)</a:t>
                      </a:r>
                      <a:endParaRPr lang="nl-NL" sz="12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2777B"/>
                    </a:solidFill>
                  </a:tcPr>
                </a:tc>
                <a:tc>
                  <a:txBody>
                    <a:bodyPr/>
                    <a:lstStyle/>
                    <a:p>
                      <a:pPr algn="ctr"/>
                      <a:r>
                        <a:rPr lang="nl-NL" sz="1200" dirty="0"/>
                        <a:t>Vacatures ’26 </a:t>
                      </a:r>
                      <a:r>
                        <a:rPr lang="nl-NL" sz="1000" dirty="0"/>
                        <a:t>(tekort %)</a:t>
                      </a:r>
                      <a:endParaRPr lang="nl-NL" sz="12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2777B"/>
                    </a:solidFill>
                  </a:tcPr>
                </a:tc>
                <a:extLst>
                  <a:ext uri="{0D108BD9-81ED-4DB2-BD59-A6C34878D82A}">
                    <a16:rowId xmlns:a16="http://schemas.microsoft.com/office/drawing/2014/main" val="1824063240"/>
                  </a:ext>
                </a:extLst>
              </a:tr>
              <a:tr h="493994">
                <a:tc>
                  <a:txBody>
                    <a:bodyPr/>
                    <a:lstStyle/>
                    <a:p>
                      <a:r>
                        <a:rPr lang="nl-NL" sz="1200" dirty="0">
                          <a:solidFill>
                            <a:srgbClr val="000000"/>
                          </a:solidFill>
                          <a:latin typeface="+mn-lt"/>
                        </a:rPr>
                        <a:t>Nederland</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17.51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89.66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endParaRPr lang="nl-NL" sz="1100" b="0" dirty="0">
                        <a:solidFill>
                          <a:srgbClr val="000000"/>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90.55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nl-NL" b="0" dirty="0">
                        <a:solidFill>
                          <a:srgbClr val="000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88.30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endParaRPr lang="nl-NL" b="0" dirty="0">
                        <a:solidFill>
                          <a:srgbClr val="000000"/>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88.74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nl-NL" dirty="0">
                        <a:solidFill>
                          <a:srgbClr val="000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000" b="1" i="0" u="none" strike="noStrike" dirty="0">
                          <a:solidFill>
                            <a:srgbClr val="000000"/>
                          </a:solidFill>
                          <a:effectLst/>
                          <a:latin typeface="+mn-lt"/>
                        </a:rPr>
                        <a:t>1.361</a:t>
                      </a:r>
                    </a:p>
                    <a:p>
                      <a:pPr algn="ctr" fontAlgn="b"/>
                      <a:r>
                        <a:rPr lang="nl-NL" sz="1000" b="0" i="0" u="none" strike="noStrike" dirty="0">
                          <a:solidFill>
                            <a:srgbClr val="000000"/>
                          </a:solidFill>
                          <a:effectLst/>
                          <a:latin typeface="+mn-lt"/>
                        </a:rPr>
                        <a:t>(1,5 %)</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ctr" defTabSz="685800" rtl="0" eaLnBrk="1" fontAlgn="b" latinLnBrk="0" hangingPunct="1"/>
                      <a:r>
                        <a:rPr lang="nl-NL" sz="1000" b="1" i="0" u="none" strike="noStrike" kern="1200" dirty="0">
                          <a:solidFill>
                            <a:srgbClr val="000000"/>
                          </a:solidFill>
                          <a:effectLst/>
                          <a:latin typeface="+mn-lt"/>
                          <a:ea typeface="+mn-ea"/>
                          <a:cs typeface="+mn-cs"/>
                        </a:rPr>
                        <a:t>1,816</a:t>
                      </a:r>
                    </a:p>
                    <a:p>
                      <a:pPr marL="0" algn="ctr" defTabSz="685800" rtl="0" eaLnBrk="1" fontAlgn="b" latinLnBrk="0" hangingPunct="1"/>
                      <a:r>
                        <a:rPr lang="nl-NL" sz="1000" b="0" i="0" u="none" strike="noStrike" kern="1200" dirty="0">
                          <a:solidFill>
                            <a:srgbClr val="000000"/>
                          </a:solidFill>
                          <a:effectLst/>
                          <a:latin typeface="+mn-lt"/>
                          <a:ea typeface="+mn-ea"/>
                          <a:cs typeface="+mn-cs"/>
                        </a:rPr>
                        <a:t>(2,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0173989"/>
                  </a:ext>
                </a:extLst>
              </a:tr>
              <a:tr h="493994">
                <a:tc>
                  <a:txBody>
                    <a:bodyPr/>
                    <a:lstStyle/>
                    <a:p>
                      <a:r>
                        <a:rPr lang="nl-NL" sz="1100" dirty="0">
                          <a:solidFill>
                            <a:srgbClr val="000000"/>
                          </a:solidFill>
                          <a:latin typeface="+mn-lt"/>
                        </a:rPr>
                        <a:t>MRA</a:t>
                      </a:r>
                      <a:r>
                        <a:rPr lang="nl-NL" sz="1100" baseline="30000" dirty="0">
                          <a:solidFill>
                            <a:srgbClr val="000000"/>
                          </a:solidFill>
                          <a:latin typeface="+mn-lt"/>
                        </a:rPr>
                        <a:t>1</a:t>
                      </a:r>
                      <a:endParaRPr lang="nl-NL" sz="1100" dirty="0">
                        <a:solidFill>
                          <a:srgbClr val="000000"/>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2.56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9.11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endParaRPr lang="nl-NL" sz="1100" b="0" dirty="0">
                        <a:solidFill>
                          <a:srgbClr val="000000"/>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9.31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nl-NL" b="0" dirty="0">
                        <a:solidFill>
                          <a:srgbClr val="000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8.68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endParaRPr lang="nl-NL" b="0" dirty="0">
                        <a:solidFill>
                          <a:srgbClr val="000000"/>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8.63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nl-NL" dirty="0">
                        <a:solidFill>
                          <a:srgbClr val="000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nl-NL" sz="1000" b="1" i="0" u="none" strike="noStrike" kern="1200" dirty="0">
                          <a:solidFill>
                            <a:srgbClr val="000000"/>
                          </a:solidFill>
                          <a:effectLst/>
                          <a:latin typeface="+mn-lt"/>
                          <a:ea typeface="+mn-ea"/>
                          <a:cs typeface="+mn-cs"/>
                        </a:rPr>
                        <a:t>434</a:t>
                      </a:r>
                    </a:p>
                    <a:p>
                      <a:pPr algn="ctr"/>
                      <a:r>
                        <a:rPr lang="nl-NL" sz="1000" dirty="0">
                          <a:solidFill>
                            <a:srgbClr val="000000"/>
                          </a:solidFill>
                          <a:latin typeface="+mn-lt"/>
                        </a:rPr>
                        <a:t>(5,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nl-NL" sz="1000" b="1" i="0" u="none" strike="noStrike" kern="1200" dirty="0">
                          <a:solidFill>
                            <a:srgbClr val="000000"/>
                          </a:solidFill>
                          <a:effectLst/>
                          <a:latin typeface="+mn-lt"/>
                          <a:ea typeface="+mn-ea"/>
                          <a:cs typeface="+mn-cs"/>
                        </a:rPr>
                        <a:t>678</a:t>
                      </a:r>
                    </a:p>
                    <a:p>
                      <a:pPr algn="ctr"/>
                      <a:r>
                        <a:rPr lang="nl-NL" sz="1000" dirty="0">
                          <a:solidFill>
                            <a:srgbClr val="000000"/>
                          </a:solidFill>
                          <a:latin typeface="+mn-lt"/>
                        </a:rPr>
                        <a:t>(7,8%)</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73977699"/>
                  </a:ext>
                </a:extLst>
              </a:tr>
              <a:tr h="493994">
                <a:tc>
                  <a:txBody>
                    <a:bodyPr/>
                    <a:lstStyle/>
                    <a:p>
                      <a:r>
                        <a:rPr lang="nl-NL" sz="1100" dirty="0">
                          <a:solidFill>
                            <a:srgbClr val="000000"/>
                          </a:solidFill>
                          <a:latin typeface="+mn-lt"/>
                        </a:rPr>
                        <a:t>Amsterdam</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100" b="0" i="0" u="none" strike="noStrike" kern="1200" dirty="0">
                          <a:solidFill>
                            <a:srgbClr val="000000"/>
                          </a:solidFill>
                          <a:effectLst/>
                          <a:latin typeface="+mn-lt"/>
                          <a:ea typeface="+mn-ea"/>
                          <a:cs typeface="+mn-cs"/>
                        </a:rPr>
                        <a:t>873</a:t>
                      </a:r>
                      <a:endParaRPr lang="nl-NL" sz="1100" b="0" dirty="0">
                        <a:solidFill>
                          <a:srgbClr val="000000"/>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100" b="0" dirty="0">
                          <a:solidFill>
                            <a:srgbClr val="000000"/>
                          </a:solidFill>
                          <a:latin typeface="+mn-lt"/>
                        </a:rPr>
                        <a:t>4.96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nl-NL" sz="1100" b="0" dirty="0">
                        <a:solidFill>
                          <a:srgbClr val="000000"/>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100" b="0" dirty="0">
                          <a:solidFill>
                            <a:srgbClr val="000000"/>
                          </a:solidFill>
                          <a:latin typeface="+mn-lt"/>
                        </a:rPr>
                        <a:t>5.119</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nl-NL" b="0" dirty="0">
                        <a:solidFill>
                          <a:srgbClr val="000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nl-NL" sz="1100" b="0" i="0" u="none" strike="noStrike" dirty="0">
                          <a:solidFill>
                            <a:srgbClr val="000000"/>
                          </a:solidFill>
                          <a:effectLst/>
                          <a:latin typeface="+mn-lt"/>
                        </a:rPr>
                        <a:t>4.69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nl-NL" b="0" dirty="0">
                        <a:solidFill>
                          <a:srgbClr val="000000"/>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nl-NL" sz="1100" b="0" i="0" u="none" strike="noStrike" dirty="0">
                          <a:solidFill>
                            <a:srgbClr val="000000"/>
                          </a:solidFill>
                          <a:effectLst/>
                          <a:latin typeface="+mn-lt"/>
                        </a:rPr>
                        <a:t>4.64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nl-NL" dirty="0">
                        <a:solidFill>
                          <a:srgbClr val="000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i="0" u="none" strike="noStrike" kern="1200" dirty="0">
                          <a:solidFill>
                            <a:srgbClr val="000000"/>
                          </a:solidFill>
                          <a:effectLst/>
                          <a:latin typeface="+mn-lt"/>
                          <a:ea typeface="+mn-ea"/>
                          <a:cs typeface="+mn-cs"/>
                        </a:rPr>
                        <a:t>268</a:t>
                      </a:r>
                    </a:p>
                    <a:p>
                      <a:pPr algn="ctr"/>
                      <a:r>
                        <a:rPr lang="nl-NL" sz="1000" dirty="0">
                          <a:solidFill>
                            <a:srgbClr val="000000"/>
                          </a:solidFill>
                          <a:latin typeface="+mn-lt"/>
                        </a:rPr>
                        <a:t>(5,7%)</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i="0" u="none" strike="noStrike" kern="1200" dirty="0">
                          <a:solidFill>
                            <a:srgbClr val="000000"/>
                          </a:solidFill>
                          <a:effectLst/>
                          <a:latin typeface="+mn-lt"/>
                          <a:ea typeface="+mn-ea"/>
                          <a:cs typeface="+mn-cs"/>
                        </a:rPr>
                        <a:t>478</a:t>
                      </a:r>
                    </a:p>
                    <a:p>
                      <a:pPr algn="ctr"/>
                      <a:r>
                        <a:rPr lang="nl-NL" sz="1000" dirty="0">
                          <a:solidFill>
                            <a:srgbClr val="000000"/>
                          </a:solidFill>
                          <a:latin typeface="+mn-lt"/>
                        </a:rPr>
                        <a:t>(10,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78819366"/>
                  </a:ext>
                </a:extLst>
              </a:tr>
              <a:tr h="493994">
                <a:tc>
                  <a:txBody>
                    <a:bodyPr/>
                    <a:lstStyle/>
                    <a:p>
                      <a:r>
                        <a:rPr lang="nl-NL" sz="1200" dirty="0">
                          <a:solidFill>
                            <a:srgbClr val="000000"/>
                          </a:solidFill>
                          <a:latin typeface="+mn-lt"/>
                        </a:rPr>
                        <a:t>Rotterdam</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65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3.77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endParaRPr lang="nl-NL" sz="1100" b="0" dirty="0">
                        <a:solidFill>
                          <a:srgbClr val="000000"/>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3.891</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nl-NL" b="0" dirty="0">
                        <a:solidFill>
                          <a:srgbClr val="000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3.66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endParaRPr lang="nl-NL" b="0" dirty="0">
                        <a:solidFill>
                          <a:srgbClr val="000000"/>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3.71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nl-NL" dirty="0">
                        <a:solidFill>
                          <a:srgbClr val="000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nl-NL" sz="1000" b="1" i="0" u="none" strike="noStrike" kern="1200" dirty="0">
                          <a:solidFill>
                            <a:srgbClr val="000000"/>
                          </a:solidFill>
                          <a:effectLst/>
                          <a:latin typeface="+mn-lt"/>
                          <a:ea typeface="+mn-ea"/>
                          <a:cs typeface="+mn-cs"/>
                        </a:rPr>
                        <a:t>108</a:t>
                      </a:r>
                    </a:p>
                    <a:p>
                      <a:pPr algn="ctr"/>
                      <a:r>
                        <a:rPr lang="nl-NL" sz="1000" dirty="0">
                          <a:solidFill>
                            <a:srgbClr val="000000"/>
                          </a:solidFill>
                          <a:latin typeface="+mn-lt"/>
                        </a:rPr>
                        <a:t>(2,9%)</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nl-NL" sz="1000" b="1" i="0" u="none" strike="noStrike" kern="1200" dirty="0">
                          <a:solidFill>
                            <a:srgbClr val="000000"/>
                          </a:solidFill>
                          <a:effectLst/>
                          <a:latin typeface="+mn-lt"/>
                          <a:ea typeface="+mn-ea"/>
                          <a:cs typeface="+mn-cs"/>
                        </a:rPr>
                        <a:t>181</a:t>
                      </a:r>
                    </a:p>
                    <a:p>
                      <a:pPr algn="ctr"/>
                      <a:r>
                        <a:rPr lang="nl-NL" sz="1000" dirty="0">
                          <a:solidFill>
                            <a:srgbClr val="000000"/>
                          </a:solidFill>
                          <a:latin typeface="+mn-lt"/>
                        </a:rPr>
                        <a:t>(4,9%)</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3378022"/>
                  </a:ext>
                </a:extLst>
              </a:tr>
              <a:tr h="493994">
                <a:tc>
                  <a:txBody>
                    <a:bodyPr/>
                    <a:lstStyle/>
                    <a:p>
                      <a:r>
                        <a:rPr lang="nl-NL" sz="1200" dirty="0">
                          <a:solidFill>
                            <a:srgbClr val="000000"/>
                          </a:solidFill>
                          <a:latin typeface="+mn-lt"/>
                        </a:rPr>
                        <a:t>Den Haa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54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2.955</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endParaRPr lang="nl-NL" sz="1100" b="0" dirty="0">
                        <a:solidFill>
                          <a:srgbClr val="000000"/>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2.96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nl-NL" b="0" dirty="0">
                        <a:solidFill>
                          <a:srgbClr val="000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2.887</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endParaRPr lang="nl-NL" b="0" dirty="0">
                        <a:solidFill>
                          <a:srgbClr val="000000"/>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2.89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nl-NL" dirty="0">
                        <a:solidFill>
                          <a:srgbClr val="000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nl-NL" sz="1000" b="1" i="0" u="none" strike="noStrike" kern="1200" dirty="0">
                          <a:solidFill>
                            <a:srgbClr val="000000"/>
                          </a:solidFill>
                          <a:effectLst/>
                          <a:latin typeface="+mn-lt"/>
                          <a:ea typeface="+mn-ea"/>
                          <a:cs typeface="+mn-cs"/>
                        </a:rPr>
                        <a:t>68</a:t>
                      </a:r>
                    </a:p>
                    <a:p>
                      <a:pPr algn="ctr"/>
                      <a:r>
                        <a:rPr lang="nl-NL" sz="1000" dirty="0">
                          <a:solidFill>
                            <a:srgbClr val="000000"/>
                          </a:solidFill>
                          <a:latin typeface="+mn-lt"/>
                        </a:rPr>
                        <a:t>(2,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nl-NL" sz="1000" b="1" i="0" u="none" strike="noStrike" kern="1200" dirty="0">
                          <a:solidFill>
                            <a:srgbClr val="000000"/>
                          </a:solidFill>
                          <a:effectLst/>
                          <a:latin typeface="+mn-lt"/>
                          <a:ea typeface="+mn-ea"/>
                          <a:cs typeface="+mn-cs"/>
                        </a:rPr>
                        <a:t>71</a:t>
                      </a:r>
                    </a:p>
                    <a:p>
                      <a:pPr algn="ctr"/>
                      <a:r>
                        <a:rPr lang="nl-NL" sz="1000" dirty="0">
                          <a:solidFill>
                            <a:srgbClr val="000000"/>
                          </a:solidFill>
                          <a:latin typeface="+mn-lt"/>
                        </a:rPr>
                        <a:t>(2,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44538846"/>
                  </a:ext>
                </a:extLst>
              </a:tr>
              <a:tr h="493994">
                <a:tc>
                  <a:txBody>
                    <a:bodyPr/>
                    <a:lstStyle/>
                    <a:p>
                      <a:r>
                        <a:rPr lang="nl-NL" sz="1200" dirty="0">
                          <a:solidFill>
                            <a:srgbClr val="000000"/>
                          </a:solidFill>
                          <a:latin typeface="+mn-lt"/>
                        </a:rPr>
                        <a:t>Utrech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kern="1200" dirty="0">
                          <a:solidFill>
                            <a:srgbClr val="000000"/>
                          </a:solidFill>
                          <a:effectLst/>
                          <a:latin typeface="+mn-lt"/>
                          <a:ea typeface="+mn-ea"/>
                          <a:cs typeface="+mn-cs"/>
                        </a:rPr>
                        <a:t>35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kern="1200" dirty="0">
                          <a:solidFill>
                            <a:srgbClr val="000000"/>
                          </a:solidFill>
                          <a:effectLst/>
                          <a:latin typeface="+mn-lt"/>
                          <a:ea typeface="+mn-ea"/>
                          <a:cs typeface="+mn-cs"/>
                        </a:rPr>
                        <a:t>2.15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endParaRPr lang="nl-NL" sz="1100" b="0" dirty="0">
                        <a:solidFill>
                          <a:srgbClr val="000000"/>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kern="1200" dirty="0">
                          <a:solidFill>
                            <a:srgbClr val="000000"/>
                          </a:solidFill>
                          <a:effectLst/>
                          <a:latin typeface="+mn-lt"/>
                          <a:ea typeface="+mn-ea"/>
                          <a:cs typeface="+mn-cs"/>
                        </a:rPr>
                        <a:t>2.214</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nl-NL" b="0" dirty="0">
                        <a:solidFill>
                          <a:srgbClr val="000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2.126</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endParaRPr lang="nl-NL" b="0" dirty="0">
                        <a:solidFill>
                          <a:srgbClr val="000000"/>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2.160</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nl-NL" dirty="0">
                        <a:solidFill>
                          <a:srgbClr val="000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nl-NL" sz="1000" b="1" i="0" u="none" strike="noStrike" kern="1200" dirty="0">
                          <a:solidFill>
                            <a:srgbClr val="000000"/>
                          </a:solidFill>
                          <a:effectLst/>
                          <a:latin typeface="+mn-lt"/>
                          <a:ea typeface="+mn-ea"/>
                          <a:cs typeface="+mn-cs"/>
                        </a:rPr>
                        <a:t>32</a:t>
                      </a:r>
                    </a:p>
                    <a:p>
                      <a:pPr algn="ctr"/>
                      <a:r>
                        <a:rPr lang="nl-NL" sz="1000" dirty="0">
                          <a:solidFill>
                            <a:srgbClr val="000000"/>
                          </a:solidFill>
                          <a:latin typeface="+mn-lt"/>
                        </a:rPr>
                        <a:t>(1,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nl-NL" sz="1000" b="1" i="0" u="none" strike="noStrike" kern="1200" dirty="0">
                          <a:solidFill>
                            <a:srgbClr val="000000"/>
                          </a:solidFill>
                          <a:effectLst/>
                          <a:latin typeface="+mn-lt"/>
                          <a:ea typeface="+mn-ea"/>
                          <a:cs typeface="+mn-cs"/>
                        </a:rPr>
                        <a:t>54</a:t>
                      </a:r>
                    </a:p>
                    <a:p>
                      <a:pPr algn="ctr"/>
                      <a:r>
                        <a:rPr lang="nl-NL" sz="1000" dirty="0">
                          <a:solidFill>
                            <a:srgbClr val="000000"/>
                          </a:solidFill>
                          <a:latin typeface="+mn-lt"/>
                        </a:rPr>
                        <a:t>(2,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8"/>
                  </a:ext>
                </a:extLst>
              </a:tr>
              <a:tr h="493994">
                <a:tc>
                  <a:txBody>
                    <a:bodyPr/>
                    <a:lstStyle/>
                    <a:p>
                      <a:r>
                        <a:rPr lang="nl-NL" sz="1200" dirty="0">
                          <a:solidFill>
                            <a:srgbClr val="000000"/>
                          </a:solidFill>
                          <a:latin typeface="+mn-lt"/>
                        </a:rPr>
                        <a:t>Friesland</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652</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3.613</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endParaRPr lang="nl-NL" sz="1100" b="0" dirty="0">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3.42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nl-NL" b="0" dirty="0">
                        <a:solidFill>
                          <a:srgbClr val="000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3.579</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endParaRPr lang="nl-NL" b="0" dirty="0">
                        <a:solidFill>
                          <a:srgbClr val="000000"/>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fontAlgn="b"/>
                      <a:r>
                        <a:rPr lang="nl-NL" sz="1100" b="0" i="0" u="none" strike="noStrike" dirty="0">
                          <a:solidFill>
                            <a:srgbClr val="000000"/>
                          </a:solidFill>
                          <a:effectLst/>
                          <a:latin typeface="+mn-lt"/>
                        </a:rPr>
                        <a:t>3.418</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nl-NL" dirty="0">
                        <a:solidFill>
                          <a:srgbClr val="000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nl-NL" sz="1000" b="1" i="0" u="none" strike="noStrike" kern="1200" dirty="0">
                          <a:solidFill>
                            <a:srgbClr val="000000"/>
                          </a:solidFill>
                          <a:effectLst/>
                          <a:latin typeface="+mn-lt"/>
                          <a:ea typeface="+mn-ea"/>
                          <a:cs typeface="+mn-cs"/>
                        </a:rPr>
                        <a:t>34</a:t>
                      </a:r>
                    </a:p>
                    <a:p>
                      <a:pPr algn="ctr"/>
                      <a:r>
                        <a:rPr lang="nl-NL" sz="1000" dirty="0">
                          <a:solidFill>
                            <a:srgbClr val="000000"/>
                          </a:solidFill>
                          <a:latin typeface="+mn-lt"/>
                        </a:rPr>
                        <a:t>(0,9%)</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ctr"/>
                      <a:r>
                        <a:rPr lang="nl-NL" sz="1000" b="1" i="0" u="none" strike="noStrike" kern="1200" dirty="0">
                          <a:solidFill>
                            <a:srgbClr val="000000"/>
                          </a:solidFill>
                          <a:effectLst/>
                          <a:latin typeface="+mn-lt"/>
                          <a:ea typeface="+mn-ea"/>
                          <a:cs typeface="+mn-cs"/>
                        </a:rPr>
                        <a:t>240</a:t>
                      </a:r>
                    </a:p>
                    <a:p>
                      <a:pPr algn="ctr"/>
                      <a:r>
                        <a:rPr lang="nl-NL" sz="1000" dirty="0">
                          <a:solidFill>
                            <a:srgbClr val="000000"/>
                          </a:solidFill>
                          <a:latin typeface="+mn-lt"/>
                        </a:rPr>
                        <a:t>(0,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9"/>
                  </a:ext>
                </a:extLst>
              </a:tr>
            </a:tbl>
          </a:graphicData>
        </a:graphic>
      </p:graphicFrame>
      <p:graphicFrame>
        <p:nvGraphicFramePr>
          <p:cNvPr id="26" name="Content Placeholder 25">
            <a:extLst>
              <a:ext uri="{FF2B5EF4-FFF2-40B4-BE49-F238E27FC236}">
                <a16:creationId xmlns:a16="http://schemas.microsoft.com/office/drawing/2014/main" id="{18E99047-9812-4420-BCE3-E2547C28CBC2}"/>
              </a:ext>
            </a:extLst>
          </p:cNvPr>
          <p:cNvGraphicFramePr>
            <a:graphicFrameLocks/>
          </p:cNvGraphicFramePr>
          <p:nvPr>
            <p:extLst>
              <p:ext uri="{D42A27DB-BD31-4B8C-83A1-F6EECF244321}">
                <p14:modId xmlns:p14="http://schemas.microsoft.com/office/powerpoint/2010/main" val="1922824890"/>
              </p:ext>
            </p:extLst>
          </p:nvPr>
        </p:nvGraphicFramePr>
        <p:xfrm>
          <a:off x="3234013" y="2312285"/>
          <a:ext cx="1359126" cy="349692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7" name="Content Placeholder 25">
            <a:extLst>
              <a:ext uri="{FF2B5EF4-FFF2-40B4-BE49-F238E27FC236}">
                <a16:creationId xmlns:a16="http://schemas.microsoft.com/office/drawing/2014/main" id="{74657BF3-7A8C-41FB-9630-118BBE433B7E}"/>
              </a:ext>
            </a:extLst>
          </p:cNvPr>
          <p:cNvGraphicFramePr>
            <a:graphicFrameLocks/>
          </p:cNvGraphicFramePr>
          <p:nvPr>
            <p:extLst>
              <p:ext uri="{D42A27DB-BD31-4B8C-83A1-F6EECF244321}">
                <p14:modId xmlns:p14="http://schemas.microsoft.com/office/powerpoint/2010/main" val="3314078288"/>
              </p:ext>
            </p:extLst>
          </p:nvPr>
        </p:nvGraphicFramePr>
        <p:xfrm>
          <a:off x="6555106" y="2319544"/>
          <a:ext cx="1196340" cy="3496929"/>
        </p:xfrm>
        <a:graphic>
          <a:graphicData uri="http://schemas.openxmlformats.org/drawingml/2006/chart">
            <c:chart xmlns:c="http://schemas.openxmlformats.org/drawingml/2006/chart" xmlns:r="http://schemas.openxmlformats.org/officeDocument/2006/relationships" r:id="rId8"/>
          </a:graphicData>
        </a:graphic>
      </p:graphicFrame>
      <p:sp>
        <p:nvSpPr>
          <p:cNvPr id="28" name="Text Placeholder 5">
            <a:extLst>
              <a:ext uri="{FF2B5EF4-FFF2-40B4-BE49-F238E27FC236}">
                <a16:creationId xmlns:a16="http://schemas.microsoft.com/office/drawing/2014/main" id="{D52913C4-89F8-4183-8E6A-84DE5DB5D3DE}"/>
              </a:ext>
            </a:extLst>
          </p:cNvPr>
          <p:cNvSpPr txBox="1">
            <a:spLocks/>
          </p:cNvSpPr>
          <p:nvPr/>
        </p:nvSpPr>
        <p:spPr>
          <a:xfrm>
            <a:off x="474326" y="1493364"/>
            <a:ext cx="10871998" cy="247650"/>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800" dirty="0">
                <a:solidFill>
                  <a:schemeClr val="tx1"/>
                </a:solidFill>
              </a:rPr>
              <a:t>Ontwikkeling lerarentekort primair onderwijs (FTE) per regio in Nederland, 2022-26</a:t>
            </a:r>
          </a:p>
        </p:txBody>
      </p:sp>
      <p:sp>
        <p:nvSpPr>
          <p:cNvPr id="2" name="Rectangle 1">
            <a:extLst>
              <a:ext uri="{FF2B5EF4-FFF2-40B4-BE49-F238E27FC236}">
                <a16:creationId xmlns:a16="http://schemas.microsoft.com/office/drawing/2014/main" id="{459C870C-64B6-4820-8F60-DF09AA11EA92}"/>
              </a:ext>
            </a:extLst>
          </p:cNvPr>
          <p:cNvSpPr/>
          <p:nvPr/>
        </p:nvSpPr>
        <p:spPr>
          <a:xfrm rot="718250">
            <a:off x="9670217" y="795979"/>
            <a:ext cx="2309091" cy="646545"/>
          </a:xfrm>
          <a:prstGeom prst="rect">
            <a:avLst/>
          </a:prstGeom>
          <a:solidFill>
            <a:srgbClr val="FFE8BA"/>
          </a:solidFill>
          <a:ln>
            <a:noFill/>
          </a:ln>
          <a:effectLst>
            <a:outerShdw blurRad="63500" sx="102000" sy="102000" algn="ctr" rotWithShape="0">
              <a:prstClr val="black">
                <a:alpha val="40000"/>
              </a:prst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b="1" dirty="0"/>
              <a:t>Disclaimer: De getallen in de tabel zijn fictief</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Oval 33">
            <a:extLst>
              <a:ext uri="{FF2B5EF4-FFF2-40B4-BE49-F238E27FC236}">
                <a16:creationId xmlns:a16="http://schemas.microsoft.com/office/drawing/2014/main" id="{26D21B40-F301-44CC-A9B5-91DB81196DB2}"/>
              </a:ext>
            </a:extLst>
          </p:cNvPr>
          <p:cNvSpPr/>
          <p:nvPr/>
        </p:nvSpPr>
        <p:spPr>
          <a:xfrm>
            <a:off x="11008413" y="36609"/>
            <a:ext cx="148708" cy="148708"/>
          </a:xfrm>
          <a:prstGeom prst="ellipse">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95C5C9"/>
              </a:solidFill>
              <a:effectLst/>
              <a:uLnTx/>
              <a:uFillTx/>
              <a:latin typeface="Corbel" panose="020B0503020204020204" pitchFamily="34" charset="0"/>
              <a:ea typeface="+mn-ea"/>
              <a:cs typeface="+mn-cs"/>
            </a:endParaRPr>
          </a:p>
        </p:txBody>
      </p:sp>
      <p:sp>
        <p:nvSpPr>
          <p:cNvPr id="35" name="TextBox 34">
            <a:extLst>
              <a:ext uri="{FF2B5EF4-FFF2-40B4-BE49-F238E27FC236}">
                <a16:creationId xmlns:a16="http://schemas.microsoft.com/office/drawing/2014/main" id="{A3D4ADFC-5457-4F29-8868-2BF5AD6AA77F}"/>
              </a:ext>
            </a:extLst>
          </p:cNvPr>
          <p:cNvSpPr txBox="1"/>
          <p:nvPr/>
        </p:nvSpPr>
        <p:spPr>
          <a:xfrm>
            <a:off x="10067055"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1</a:t>
            </a:r>
            <a:endParaRPr lang="nl-NL" noProof="0" dirty="0">
              <a:solidFill>
                <a:srgbClr val="95C5C9"/>
              </a:solidFill>
            </a:endParaRPr>
          </a:p>
        </p:txBody>
      </p:sp>
      <p:sp>
        <p:nvSpPr>
          <p:cNvPr id="36" name="TextBox 35">
            <a:extLst>
              <a:ext uri="{FF2B5EF4-FFF2-40B4-BE49-F238E27FC236}">
                <a16:creationId xmlns:a16="http://schemas.microsoft.com/office/drawing/2014/main" id="{606D6581-B021-4395-A939-8D516D7C0222}"/>
              </a:ext>
            </a:extLst>
          </p:cNvPr>
          <p:cNvSpPr txBox="1"/>
          <p:nvPr/>
        </p:nvSpPr>
        <p:spPr>
          <a:xfrm>
            <a:off x="10256482"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2</a:t>
            </a:r>
          </a:p>
        </p:txBody>
      </p:sp>
      <p:sp>
        <p:nvSpPr>
          <p:cNvPr id="37" name="TextBox 36">
            <a:extLst>
              <a:ext uri="{FF2B5EF4-FFF2-40B4-BE49-F238E27FC236}">
                <a16:creationId xmlns:a16="http://schemas.microsoft.com/office/drawing/2014/main" id="{02FEA119-A612-4D2E-ACA8-7AF9AC567F78}"/>
              </a:ext>
            </a:extLst>
          </p:cNvPr>
          <p:cNvSpPr txBox="1"/>
          <p:nvPr/>
        </p:nvSpPr>
        <p:spPr>
          <a:xfrm>
            <a:off x="10445909"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3</a:t>
            </a:r>
          </a:p>
        </p:txBody>
      </p:sp>
      <p:sp>
        <p:nvSpPr>
          <p:cNvPr id="38" name="TextBox 37">
            <a:extLst>
              <a:ext uri="{FF2B5EF4-FFF2-40B4-BE49-F238E27FC236}">
                <a16:creationId xmlns:a16="http://schemas.microsoft.com/office/drawing/2014/main" id="{F1E2E287-CFF8-484D-98FA-9831DAEE621A}"/>
              </a:ext>
            </a:extLst>
          </p:cNvPr>
          <p:cNvSpPr txBox="1"/>
          <p:nvPr/>
        </p:nvSpPr>
        <p:spPr>
          <a:xfrm>
            <a:off x="10635336"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4</a:t>
            </a:r>
            <a:endParaRPr lang="nl-NL" noProof="0" dirty="0">
              <a:solidFill>
                <a:srgbClr val="95C5C9"/>
              </a:solidFill>
            </a:endParaRPr>
          </a:p>
        </p:txBody>
      </p:sp>
      <p:sp>
        <p:nvSpPr>
          <p:cNvPr id="39" name="TextBox 38">
            <a:extLst>
              <a:ext uri="{FF2B5EF4-FFF2-40B4-BE49-F238E27FC236}">
                <a16:creationId xmlns:a16="http://schemas.microsoft.com/office/drawing/2014/main" id="{00822D53-D4D4-44CA-B002-0FEA413F9DE7}"/>
              </a:ext>
            </a:extLst>
          </p:cNvPr>
          <p:cNvSpPr txBox="1"/>
          <p:nvPr/>
        </p:nvSpPr>
        <p:spPr>
          <a:xfrm>
            <a:off x="10824763"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5</a:t>
            </a:r>
            <a:endParaRPr lang="nl-NL" sz="1000" noProof="0" dirty="0">
              <a:solidFill>
                <a:srgbClr val="95C5C9"/>
              </a:solidFill>
            </a:endParaRPr>
          </a:p>
        </p:txBody>
      </p:sp>
      <p:sp>
        <p:nvSpPr>
          <p:cNvPr id="40" name="TextBox 39">
            <a:extLst>
              <a:ext uri="{FF2B5EF4-FFF2-40B4-BE49-F238E27FC236}">
                <a16:creationId xmlns:a16="http://schemas.microsoft.com/office/drawing/2014/main" id="{7501AB15-E808-41D0-8B18-6D605C4F999F}"/>
              </a:ext>
            </a:extLst>
          </p:cNvPr>
          <p:cNvSpPr txBox="1"/>
          <p:nvPr/>
        </p:nvSpPr>
        <p:spPr>
          <a:xfrm>
            <a:off x="11014190" y="40328"/>
            <a:ext cx="137154" cy="141270"/>
          </a:xfrm>
          <a:prstGeom prst="rect">
            <a:avLst/>
          </a:prstGeom>
        </p:spPr>
        <p:txBody>
          <a:bodyPr vert="horz" wrap="square" lIns="0" tIns="0" rIns="0" bIns="0" rtlCol="0" anchor="ctr">
            <a:noAutofit/>
          </a:bodyPr>
          <a:lstStyle/>
          <a:p>
            <a:pPr marL="0" indent="0" algn="ctr">
              <a:buNone/>
            </a:pPr>
            <a:r>
              <a:rPr lang="nl-NL" sz="1000" b="1" noProof="0" dirty="0">
                <a:solidFill>
                  <a:srgbClr val="95C5C9"/>
                </a:solidFill>
              </a:rPr>
              <a:t>6</a:t>
            </a:r>
          </a:p>
        </p:txBody>
      </p:sp>
      <p:sp>
        <p:nvSpPr>
          <p:cNvPr id="41" name="TextBox 40">
            <a:extLst>
              <a:ext uri="{FF2B5EF4-FFF2-40B4-BE49-F238E27FC236}">
                <a16:creationId xmlns:a16="http://schemas.microsoft.com/office/drawing/2014/main" id="{BB27E972-5FDC-45C7-9496-AA5F05A0D69E}"/>
              </a:ext>
            </a:extLst>
          </p:cNvPr>
          <p:cNvSpPr txBox="1"/>
          <p:nvPr/>
        </p:nvSpPr>
        <p:spPr>
          <a:xfrm>
            <a:off x="11203617"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7</a:t>
            </a:r>
            <a:endParaRPr lang="nl-NL" sz="1000" noProof="0" dirty="0">
              <a:solidFill>
                <a:srgbClr val="95C5C9"/>
              </a:solidFill>
            </a:endParaRPr>
          </a:p>
        </p:txBody>
      </p:sp>
      <p:sp>
        <p:nvSpPr>
          <p:cNvPr id="42" name="Text Placeholder 2">
            <a:extLst>
              <a:ext uri="{FF2B5EF4-FFF2-40B4-BE49-F238E27FC236}">
                <a16:creationId xmlns:a16="http://schemas.microsoft.com/office/drawing/2014/main" id="{5FA82B67-9595-4EDE-B85B-590837D16738}"/>
              </a:ext>
            </a:extLst>
          </p:cNvPr>
          <p:cNvSpPr>
            <a:spLocks noGrp="1"/>
          </p:cNvSpPr>
          <p:nvPr>
            <p:ph type="body" sz="quarter" idx="20"/>
          </p:nvPr>
        </p:nvSpPr>
        <p:spPr>
          <a:xfrm>
            <a:off x="662780" y="6549444"/>
            <a:ext cx="10868400" cy="122400"/>
          </a:xfrm>
        </p:spPr>
        <p:txBody>
          <a:bodyPr/>
          <a:lstStyle/>
          <a:p>
            <a:r>
              <a:rPr lang="nl-NL" dirty="0"/>
              <a:t>Metropoolregio Amsterdam ( MRA) omvat een groot gebied rondom Amsterdam inclusief gemeenten als Almere, Haarlemmermeer en Purmerend.</a:t>
            </a:r>
          </a:p>
        </p:txBody>
      </p:sp>
    </p:spTree>
    <p:extLst>
      <p:ext uri="{BB962C8B-B14F-4D97-AF65-F5344CB8AC3E}">
        <p14:creationId xmlns:p14="http://schemas.microsoft.com/office/powerpoint/2010/main" val="24317441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ABE98B0-3C8A-43C8-8200-5975A1E67A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30"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CABE98B0-3C8A-43C8-8200-5975A1E67A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B7005C69-C8D5-4CD2-A222-DB83596ED306}"/>
              </a:ext>
            </a:extLst>
          </p:cNvPr>
          <p:cNvSpPr>
            <a:spLocks noGrp="1"/>
          </p:cNvSpPr>
          <p:nvPr>
            <p:ph type="ftr" sz="quarter" idx="3"/>
          </p:nvPr>
        </p:nvSpPr>
        <p:spPr/>
        <p:txBody>
          <a:bodyPr/>
          <a:lstStyle/>
          <a:p>
            <a:r>
              <a:rPr lang="nl-NL" noProof="0"/>
              <a:t>Bron: </a:t>
            </a:r>
          </a:p>
        </p:txBody>
      </p:sp>
      <p:sp>
        <p:nvSpPr>
          <p:cNvPr id="5" name="Slide Number Placeholder 4">
            <a:extLst>
              <a:ext uri="{FF2B5EF4-FFF2-40B4-BE49-F238E27FC236}">
                <a16:creationId xmlns:a16="http://schemas.microsoft.com/office/drawing/2014/main" id="{884FD416-CB43-4A83-8EDE-DF8450D7AC65}"/>
              </a:ext>
            </a:extLst>
          </p:cNvPr>
          <p:cNvSpPr>
            <a:spLocks noGrp="1"/>
          </p:cNvSpPr>
          <p:nvPr>
            <p:ph type="sldNum" sz="quarter" idx="12"/>
          </p:nvPr>
        </p:nvSpPr>
        <p:spPr/>
        <p:txBody>
          <a:bodyPr/>
          <a:lstStyle/>
          <a:p>
            <a:fld id="{992CD0B2-8AB2-4C6C-8876-E15753662C9B}" type="slidenum">
              <a:rPr lang="nl-NL" noProof="0" smtClean="0"/>
              <a:pPr/>
              <a:t>25</a:t>
            </a:fld>
            <a:endParaRPr lang="nl-NL" noProof="0"/>
          </a:p>
        </p:txBody>
      </p:sp>
      <p:sp>
        <p:nvSpPr>
          <p:cNvPr id="30" name="Text Placeholder 5">
            <a:extLst>
              <a:ext uri="{FF2B5EF4-FFF2-40B4-BE49-F238E27FC236}">
                <a16:creationId xmlns:a16="http://schemas.microsoft.com/office/drawing/2014/main" id="{7347DDFB-778D-40B7-AB84-CA2BD033379C}"/>
              </a:ext>
            </a:extLst>
          </p:cNvPr>
          <p:cNvSpPr txBox="1">
            <a:spLocks/>
          </p:cNvSpPr>
          <p:nvPr/>
        </p:nvSpPr>
        <p:spPr>
          <a:xfrm>
            <a:off x="6031346" y="3673659"/>
            <a:ext cx="5511554" cy="2635066"/>
          </a:xfrm>
          <a:prstGeom prst="rect">
            <a:avLst/>
          </a:prstGeom>
          <a:solidFill>
            <a:schemeClr val="bg1"/>
          </a:solidFill>
          <a:ln>
            <a:solidFill>
              <a:schemeClr val="bg1">
                <a:lumMod val="85000"/>
              </a:schemeClr>
            </a:solidFill>
          </a:ln>
        </p:spPr>
        <p:txBody>
          <a:bodyPr vert="horz" lIns="54000" tIns="72000" rIns="54000" bIns="72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nSpc>
                <a:spcPct val="100000"/>
              </a:lnSpc>
            </a:pPr>
            <a:r>
              <a:rPr lang="nl-NL" sz="1200" dirty="0"/>
              <a:t>Hoe zou een onvoldoende antwoord eruit zien?</a:t>
            </a:r>
            <a:br>
              <a:rPr lang="nl-NL" sz="1200" dirty="0"/>
            </a:br>
            <a:r>
              <a:rPr lang="nl-NL" sz="1200" b="0" dirty="0"/>
              <a:t>Het valt natuurlijk direct op dat in Friesland vergrijzing speelt, het aantal leraren en leerlingen daalt flink. Verder geldt in 2022 nog dat het lerarentekort groter is, hoe groter de stad is, maar in 2026 geldt dat niet meer, want dan is het tekort in Den Haag en Utrecht even groot, terwijl die steden niet even groot zijn. Dus dat is wel interessant. Ja en verder is het duidelijk dat in Amsterdam het probleem het grootst is.</a:t>
            </a:r>
          </a:p>
          <a:p>
            <a:pPr>
              <a:lnSpc>
                <a:spcPct val="100000"/>
              </a:lnSpc>
            </a:pPr>
            <a:endParaRPr lang="nl-NL" sz="1200" b="0" dirty="0"/>
          </a:p>
          <a:p>
            <a:pPr>
              <a:lnSpc>
                <a:spcPct val="100000"/>
              </a:lnSpc>
            </a:pPr>
            <a:r>
              <a:rPr lang="nl-NL" sz="1200" dirty="0"/>
              <a:t>Wat kan hier beter?</a:t>
            </a:r>
          </a:p>
          <a:p>
            <a:pPr marL="171450" indent="-171450">
              <a:lnSpc>
                <a:spcPct val="100000"/>
              </a:lnSpc>
              <a:buFont typeface="Wingdings" panose="05000000000000000000" pitchFamily="2" charset="2"/>
              <a:buChar char="§"/>
            </a:pPr>
            <a:r>
              <a:rPr lang="nl-NL" sz="1200" b="0" dirty="0"/>
              <a:t>Ondanks dat de informatie juist is afgelezen hebben de conclusies beperkte waarde. Zo is de situatie in Friesland niet heel belangrijk en is de  conclusie over de grootte van de steden lastig te volgen.</a:t>
            </a:r>
          </a:p>
          <a:p>
            <a:pPr marL="171450" indent="-171450">
              <a:lnSpc>
                <a:spcPct val="100000"/>
              </a:lnSpc>
              <a:buFont typeface="Wingdings" panose="05000000000000000000" pitchFamily="2" charset="2"/>
              <a:buChar char="§"/>
            </a:pPr>
            <a:r>
              <a:rPr lang="nl-NL" sz="1200" b="0" dirty="0"/>
              <a:t>Vergelijking met de regio en Nederland worden geheel achterwege gelaten, terwijl dit wel nuttige informatie is.</a:t>
            </a:r>
          </a:p>
          <a:p>
            <a:pPr marL="171450" indent="-171450">
              <a:buFont typeface="Wingdings" panose="05000000000000000000" pitchFamily="2" charset="2"/>
              <a:buChar char="§"/>
            </a:pPr>
            <a:endParaRPr lang="nl-NL" sz="1200" b="0" dirty="0"/>
          </a:p>
        </p:txBody>
      </p:sp>
      <p:sp>
        <p:nvSpPr>
          <p:cNvPr id="8" name="Text Placeholder 5">
            <a:extLst>
              <a:ext uri="{FF2B5EF4-FFF2-40B4-BE49-F238E27FC236}">
                <a16:creationId xmlns:a16="http://schemas.microsoft.com/office/drawing/2014/main" id="{590D4113-C0B4-44C6-867B-45E0549FB90F}"/>
              </a:ext>
            </a:extLst>
          </p:cNvPr>
          <p:cNvSpPr txBox="1">
            <a:spLocks/>
          </p:cNvSpPr>
          <p:nvPr/>
        </p:nvSpPr>
        <p:spPr>
          <a:xfrm>
            <a:off x="2952749" y="545413"/>
            <a:ext cx="8577451" cy="3053212"/>
          </a:xfrm>
          <a:prstGeom prst="rect">
            <a:avLst/>
          </a:prstGeom>
          <a:solidFill>
            <a:schemeClr val="bg1">
              <a:lumMod val="95000"/>
            </a:schemeClr>
          </a:solidFill>
          <a:ln>
            <a:solidFill>
              <a:srgbClr val="22777B"/>
            </a:solidFill>
          </a:ln>
        </p:spPr>
        <p:txBody>
          <a:bodyPr vert="horz" lIns="72000" tIns="72000" rIns="72000" bIns="72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nSpc>
                <a:spcPct val="100000"/>
              </a:lnSpc>
            </a:pPr>
            <a:r>
              <a:rPr lang="nl-NL" sz="1200" dirty="0"/>
              <a:t>Excellent antwoord</a:t>
            </a:r>
          </a:p>
          <a:p>
            <a:pPr>
              <a:lnSpc>
                <a:spcPct val="100000"/>
              </a:lnSpc>
            </a:pPr>
            <a:r>
              <a:rPr lang="nl-NL" sz="1200" b="0" dirty="0"/>
              <a:t>Aangezien de wethouder het meest geïnteresseerd is in de ontwikkeling van het lerarentekort in Amsterdam is het nuttig om deze te vergelijken met andere geografische gebieden.</a:t>
            </a:r>
          </a:p>
          <a:p>
            <a:pPr>
              <a:lnSpc>
                <a:spcPct val="100000"/>
              </a:lnSpc>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Zoals de prognoses nu zijn stijgt in Amsterdam het lerarentekort sterk van 5,7% in 2022 naar 10,3% in 2026.  Ik vergelijk het met </a:t>
            </a:r>
          </a:p>
          <a:p>
            <a:pPr marL="171450" indent="-171450">
              <a:lnSpc>
                <a:spcPct val="100000"/>
              </a:lnSpc>
              <a:buFont typeface="Wingdings" panose="05000000000000000000" pitchFamily="2" charset="2"/>
              <a:buChar char="§"/>
            </a:pPr>
            <a:r>
              <a:rPr lang="nl-NL" sz="1200" b="0" dirty="0"/>
              <a:t>Nederland: In Nederland stijgt het lerarentekort ook, maar gaat dit om veel kleinere percentages. Daarnaast komen er landelijk ook meer leraren bij, terwijl dit in Amsterdam niet het geval is. Op basis van een vergelijking met het tekortpercentage van de steden, MRA en Friesland, lijkt het lerarentekort een (rand)stedelijk probleem te zijn.</a:t>
            </a:r>
          </a:p>
          <a:p>
            <a:pPr marL="171450" indent="-171450">
              <a:lnSpc>
                <a:spcPct val="100000"/>
              </a:lnSpc>
              <a:buFont typeface="Wingdings" panose="05000000000000000000" pitchFamily="2" charset="2"/>
              <a:buChar char="§"/>
            </a:pPr>
            <a:r>
              <a:rPr lang="nl-NL" sz="1200" b="0" dirty="0"/>
              <a:t>De grote steden: Vergeleken met de andere grootste steden van het land heeft Amsterdam als enige te maken met een daling in het aantal leraren, terwijl de behoefte ook nog het sterkst groeit van allemaal. Ondanks dat het probleem ook in de andere steden speelt, is de problematiek in Amsterdam veruit het grootst.</a:t>
            </a:r>
          </a:p>
          <a:p>
            <a:pPr marL="171450" indent="-171450">
              <a:lnSpc>
                <a:spcPct val="100000"/>
              </a:lnSpc>
              <a:buFont typeface="Wingdings" panose="05000000000000000000" pitchFamily="2" charset="2"/>
              <a:buChar char="§"/>
            </a:pPr>
            <a:r>
              <a:rPr lang="nl-NL" sz="1200" b="0" dirty="0"/>
              <a:t>MRA: In MRA lijkt een zelfde dynamiek als in Amsterdam te zijn, met stijgende vraag en dalend aanbod. Het is echter op het eerste gezicht onduidelijk of dit effect met name komt door de dynamiek in Amsterdam, of dat andere gemeenten in de regio ook met een stijgende vraag en een dalend aanbod te maken heeft.</a:t>
            </a:r>
          </a:p>
          <a:p>
            <a:pPr>
              <a:lnSpc>
                <a:spcPct val="100000"/>
              </a:lnSpc>
            </a:pPr>
            <a:r>
              <a:rPr lang="nl-NL" sz="1200" b="0" dirty="0"/>
              <a:t>Ten slotte, niet direct relevant voor Amsterdam valt nog op dat in Friesland zowel de vraag als het aanbod sterk krimpt.</a:t>
            </a:r>
          </a:p>
          <a:p>
            <a:pPr marL="171450" indent="-171450">
              <a:buFont typeface="Wingdings" panose="05000000000000000000" pitchFamily="2" charset="2"/>
              <a:buChar char="§"/>
            </a:pPr>
            <a:endPar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endParaRPr lang="nl-NL" sz="1200" b="0" dirty="0"/>
          </a:p>
          <a:p>
            <a:endParaRPr lang="nl-NL" sz="1200" b="0" dirty="0"/>
          </a:p>
        </p:txBody>
      </p:sp>
      <p:sp>
        <p:nvSpPr>
          <p:cNvPr id="15" name="Text Placeholder 5">
            <a:extLst>
              <a:ext uri="{FF2B5EF4-FFF2-40B4-BE49-F238E27FC236}">
                <a16:creationId xmlns:a16="http://schemas.microsoft.com/office/drawing/2014/main" id="{D810EC08-28BB-4468-B85E-E1A870DBD8DF}"/>
              </a:ext>
            </a:extLst>
          </p:cNvPr>
          <p:cNvSpPr txBox="1">
            <a:spLocks/>
          </p:cNvSpPr>
          <p:nvPr/>
        </p:nvSpPr>
        <p:spPr>
          <a:xfrm>
            <a:off x="2952750" y="3673659"/>
            <a:ext cx="3078596" cy="2635066"/>
          </a:xfrm>
          <a:prstGeom prst="rect">
            <a:avLst/>
          </a:prstGeom>
          <a:solidFill>
            <a:schemeClr val="bg1"/>
          </a:solidFill>
          <a:ln>
            <a:solidFill>
              <a:schemeClr val="bg1">
                <a:lumMod val="85000"/>
              </a:schemeClr>
            </a:solidFill>
          </a:ln>
        </p:spPr>
        <p:txBody>
          <a:bodyPr vert="horz" lIns="54000" tIns="72000" rIns="54000" bIns="72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nSpc>
                <a:spcPct val="100000"/>
              </a:lnSpc>
            </a:pPr>
            <a:r>
              <a:rPr lang="nl-NL" sz="1200" dirty="0"/>
              <a:t>Wat maakt dit antwoord goed?</a:t>
            </a:r>
          </a:p>
          <a:p>
            <a:pPr marL="171450" indent="-171450">
              <a:lnSpc>
                <a:spcPct val="100000"/>
              </a:lnSpc>
              <a:buClr>
                <a:schemeClr val="tx2"/>
              </a:buClr>
              <a:buFont typeface="Wingdings" panose="05000000000000000000" pitchFamily="2" charset="2"/>
              <a:buChar char="ü"/>
            </a:pPr>
            <a:r>
              <a:rPr lang="nl-NL" sz="1200" b="0" dirty="0"/>
              <a:t>De informatie wordt correct afgelezen</a:t>
            </a:r>
          </a:p>
          <a:p>
            <a:pPr marL="171450" indent="-171450">
              <a:lnSpc>
                <a:spcPct val="100000"/>
              </a:lnSpc>
              <a:buClr>
                <a:schemeClr val="tx2"/>
              </a:buClr>
              <a:buFont typeface="Wingdings" panose="05000000000000000000" pitchFamily="2" charset="2"/>
              <a:buChar char="ü"/>
            </a:pPr>
            <a:r>
              <a:rPr lang="nl-NL" sz="1200" b="0" dirty="0"/>
              <a:t>Simpele structuur waarin wordt opgedeeld naar drie vergelijkingen</a:t>
            </a:r>
          </a:p>
          <a:p>
            <a:pPr marL="171450" indent="-171450">
              <a:lnSpc>
                <a:spcPct val="100000"/>
              </a:lnSpc>
              <a:buClr>
                <a:schemeClr val="tx2"/>
              </a:buClr>
              <a:buFont typeface="Wingdings" panose="05000000000000000000" pitchFamily="2" charset="2"/>
              <a:buChar char="ü"/>
            </a:pPr>
            <a:r>
              <a:rPr lang="nl-NL" sz="1200" b="0" dirty="0"/>
              <a:t>De informatie wordt vertaald tot bruikbare conclusies en gerelateerd aan het probleem in Amsterdam</a:t>
            </a:r>
          </a:p>
          <a:p>
            <a:pPr marL="171450" indent="-171450">
              <a:buClr>
                <a:schemeClr val="tx2"/>
              </a:buClr>
              <a:buFont typeface="Wingdings" panose="05000000000000000000" pitchFamily="2" charset="2"/>
              <a:buChar char="ü"/>
            </a:pPr>
            <a:endParaRPr lang="nl-NL" sz="1200" b="0" dirty="0"/>
          </a:p>
          <a:p>
            <a:pPr marL="171450" indent="-171450">
              <a:buClr>
                <a:schemeClr val="tx2"/>
              </a:buClr>
              <a:buFont typeface="Wingdings" panose="05000000000000000000" pitchFamily="2" charset="2"/>
              <a:buChar char="§"/>
            </a:pPr>
            <a:endParaRPr lang="nl-NL" sz="1200" b="0" dirty="0"/>
          </a:p>
          <a:p>
            <a:pPr>
              <a:buClr>
                <a:schemeClr val="tx2"/>
              </a:buClr>
            </a:pPr>
            <a:endParaRPr lang="nl-NL" sz="1200" b="0" dirty="0"/>
          </a:p>
          <a:p>
            <a:pPr>
              <a:buClr>
                <a:schemeClr val="tx2"/>
              </a:buClr>
            </a:pPr>
            <a:endParaRPr lang="nl-NL" sz="1200" b="0" dirty="0"/>
          </a:p>
        </p:txBody>
      </p:sp>
      <p:pic>
        <p:nvPicPr>
          <p:cNvPr id="61442" name="Picture 2">
            <a:extLst>
              <a:ext uri="{FF2B5EF4-FFF2-40B4-BE49-F238E27FC236}">
                <a16:creationId xmlns:a16="http://schemas.microsoft.com/office/drawing/2014/main" id="{F31421FC-687C-4775-BBCA-9AC90E0C78E6}"/>
              </a:ext>
            </a:extLst>
          </p:cNvPr>
          <p:cNvPicPr>
            <a:picLocks noChangeAspect="1" noChangeArrowheads="1"/>
          </p:cNvPicPr>
          <p:nvPr/>
        </p:nvPicPr>
        <p:blipFill>
          <a:blip r:embed="rId6" cstate="hqprint">
            <a:extLst>
              <a:ext uri="{28A0092B-C50C-407E-A947-70E740481C1C}">
                <a14:useLocalDpi xmlns:a14="http://schemas.microsoft.com/office/drawing/2010/main"/>
              </a:ext>
            </a:extLst>
          </a:blip>
          <a:srcRect l="38477" r="38477"/>
          <a:stretch/>
        </p:blipFill>
        <p:spPr bwMode="auto">
          <a:xfrm>
            <a:off x="0" y="0"/>
            <a:ext cx="28098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D85439E5-6E0C-4BFB-9E2A-FA280E638BDE}"/>
              </a:ext>
            </a:extLst>
          </p:cNvPr>
          <p:cNvSpPr/>
          <p:nvPr/>
        </p:nvSpPr>
        <p:spPr>
          <a:xfrm>
            <a:off x="0" y="-8800"/>
            <a:ext cx="2809875" cy="6866800"/>
          </a:xfrm>
          <a:prstGeom prst="rect">
            <a:avLst/>
          </a:prstGeom>
          <a:solidFill>
            <a:schemeClr val="bg1">
              <a:lumMod val="95000"/>
              <a:alpha val="84000"/>
            </a:schemeClr>
          </a:solidFill>
          <a:ln>
            <a:noFill/>
          </a:ln>
        </p:spPr>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0" indent="0">
              <a:lnSpc>
                <a:spcPct val="100000"/>
              </a:lnSpc>
              <a:buNone/>
            </a:pPr>
            <a:r>
              <a:rPr lang="nl-NL" sz="2800" b="1" dirty="0">
                <a:solidFill>
                  <a:srgbClr val="22777B"/>
                </a:solidFill>
              </a:rPr>
              <a:t>Vraag 6</a:t>
            </a:r>
          </a:p>
          <a:p>
            <a:pPr marL="0" indent="0">
              <a:lnSpc>
                <a:spcPct val="100000"/>
              </a:lnSpc>
              <a:buNone/>
            </a:pPr>
            <a:br>
              <a:rPr lang="nl-NL" sz="1400" dirty="0">
                <a:solidFill>
                  <a:schemeClr val="tx1"/>
                </a:solidFill>
              </a:rPr>
            </a:br>
            <a:br>
              <a:rPr lang="nl-NL" sz="1200" dirty="0">
                <a:solidFill>
                  <a:schemeClr val="tx1"/>
                </a:solidFill>
              </a:rPr>
            </a:br>
            <a:r>
              <a:rPr lang="nl-NL" sz="1200" dirty="0">
                <a:solidFill>
                  <a:schemeClr val="tx1"/>
                </a:solidFill>
              </a:rPr>
              <a:t>Bedankt voor de berekening en heldere toelichting. Er is veel maatschappelijke discussie rondom het lerarentekort. Veel gemeenten roepen dat ze last hebben van de situatie, maar het is nog niet duidelijk hoe de problematiek zich van stad tot stad verhoudt. Daarom heeft het Ministerie van OCW een eerste onderzoek gedaan om informatie te verzamelen. Aan jou de vraag wat je opvalt als je de informatie van de volgende slide ziet? </a:t>
            </a:r>
            <a:endParaRPr kumimoji="0" lang="nl-NL" sz="1400" i="0" u="none" strike="noStrike" kern="1200" cap="none" spc="0" normalizeH="0" baseline="0" noProof="0" dirty="0">
              <a:ln>
                <a:noFill/>
              </a:ln>
              <a:solidFill>
                <a:schemeClr val="tx1"/>
              </a:solidFill>
              <a:effectLst/>
              <a:uLnTx/>
              <a:uFillTx/>
              <a:latin typeface="Corbel" panose="020B0503020204020204" pitchFamily="34" charset="0"/>
              <a:ea typeface="+mn-ea"/>
              <a:cs typeface="+mn-cs"/>
            </a:endParaRPr>
          </a:p>
        </p:txBody>
      </p:sp>
      <p:grpSp>
        <p:nvGrpSpPr>
          <p:cNvPr id="21" name="Group 20">
            <a:extLst>
              <a:ext uri="{FF2B5EF4-FFF2-40B4-BE49-F238E27FC236}">
                <a16:creationId xmlns:a16="http://schemas.microsoft.com/office/drawing/2014/main" id="{C5578B65-C922-42B5-B58E-017E05320628}"/>
              </a:ext>
            </a:extLst>
          </p:cNvPr>
          <p:cNvGrpSpPr/>
          <p:nvPr/>
        </p:nvGrpSpPr>
        <p:grpSpPr>
          <a:xfrm>
            <a:off x="1444733" y="241300"/>
            <a:ext cx="504420" cy="348414"/>
            <a:chOff x="2836863" y="3201988"/>
            <a:chExt cx="2001837" cy="1382712"/>
          </a:xfrm>
          <a:solidFill>
            <a:schemeClr val="tx2"/>
          </a:solidFill>
        </p:grpSpPr>
        <p:sp>
          <p:nvSpPr>
            <p:cNvPr id="22" name="Freeform 1">
              <a:extLst>
                <a:ext uri="{FF2B5EF4-FFF2-40B4-BE49-F238E27FC236}">
                  <a16:creationId xmlns:a16="http://schemas.microsoft.com/office/drawing/2014/main" id="{3B7896AF-670D-49F2-865F-D697DA861715}"/>
                </a:ext>
              </a:extLst>
            </p:cNvPr>
            <p:cNvSpPr>
              <a:spLocks noChangeArrowheads="1"/>
            </p:cNvSpPr>
            <p:nvPr/>
          </p:nvSpPr>
          <p:spPr bwMode="auto">
            <a:xfrm>
              <a:off x="2870200" y="3246438"/>
              <a:ext cx="1450975" cy="1247775"/>
            </a:xfrm>
            <a:custGeom>
              <a:avLst/>
              <a:gdLst>
                <a:gd name="T0" fmla="*/ 3625 w 4032"/>
                <a:gd name="T1" fmla="*/ 593 h 3468"/>
                <a:gd name="T2" fmla="*/ 3625 w 4032"/>
                <a:gd name="T3" fmla="*/ 593 h 3468"/>
                <a:gd name="T4" fmla="*/ 2000 w 4032"/>
                <a:gd name="T5" fmla="*/ 0 h 3468"/>
                <a:gd name="T6" fmla="*/ 593 w 4032"/>
                <a:gd name="T7" fmla="*/ 468 h 3468"/>
                <a:gd name="T8" fmla="*/ 593 w 4032"/>
                <a:gd name="T9" fmla="*/ 468 h 3468"/>
                <a:gd name="T10" fmla="*/ 31 w 4032"/>
                <a:gd name="T11" fmla="*/ 1531 h 3468"/>
                <a:gd name="T12" fmla="*/ 593 w 4032"/>
                <a:gd name="T13" fmla="*/ 2592 h 3468"/>
                <a:gd name="T14" fmla="*/ 500 w 4032"/>
                <a:gd name="T15" fmla="*/ 3374 h 3468"/>
                <a:gd name="T16" fmla="*/ 406 w 4032"/>
                <a:gd name="T17" fmla="*/ 3467 h 3468"/>
                <a:gd name="T18" fmla="*/ 531 w 4032"/>
                <a:gd name="T19" fmla="*/ 3467 h 3468"/>
                <a:gd name="T20" fmla="*/ 1343 w 4032"/>
                <a:gd name="T21" fmla="*/ 2967 h 3468"/>
                <a:gd name="T22" fmla="*/ 2093 w 4032"/>
                <a:gd name="T23" fmla="*/ 3030 h 3468"/>
                <a:gd name="T24" fmla="*/ 3531 w 4032"/>
                <a:gd name="T25" fmla="*/ 2592 h 3468"/>
                <a:gd name="T26" fmla="*/ 4031 w 4032"/>
                <a:gd name="T27" fmla="*/ 1531 h 3468"/>
                <a:gd name="T28" fmla="*/ 3625 w 4032"/>
                <a:gd name="T29" fmla="*/ 593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2" h="3468">
                  <a:moveTo>
                    <a:pt x="3625" y="593"/>
                  </a:moveTo>
                  <a:lnTo>
                    <a:pt x="3625" y="593"/>
                  </a:lnTo>
                  <a:cubicBezTo>
                    <a:pt x="3250" y="218"/>
                    <a:pt x="2625" y="0"/>
                    <a:pt x="2000" y="0"/>
                  </a:cubicBezTo>
                  <a:cubicBezTo>
                    <a:pt x="1468" y="0"/>
                    <a:pt x="1000" y="156"/>
                    <a:pt x="593" y="468"/>
                  </a:cubicBezTo>
                  <a:lnTo>
                    <a:pt x="593" y="468"/>
                  </a:lnTo>
                  <a:cubicBezTo>
                    <a:pt x="218" y="781"/>
                    <a:pt x="0" y="1156"/>
                    <a:pt x="31" y="1531"/>
                  </a:cubicBezTo>
                  <a:cubicBezTo>
                    <a:pt x="62" y="2217"/>
                    <a:pt x="500" y="2530"/>
                    <a:pt x="593" y="2592"/>
                  </a:cubicBezTo>
                  <a:cubicBezTo>
                    <a:pt x="625" y="2717"/>
                    <a:pt x="687" y="3092"/>
                    <a:pt x="500" y="3374"/>
                  </a:cubicBezTo>
                  <a:cubicBezTo>
                    <a:pt x="406" y="3467"/>
                    <a:pt x="406" y="3467"/>
                    <a:pt x="406" y="3467"/>
                  </a:cubicBezTo>
                  <a:cubicBezTo>
                    <a:pt x="531" y="3467"/>
                    <a:pt x="531" y="3467"/>
                    <a:pt x="531" y="3467"/>
                  </a:cubicBezTo>
                  <a:cubicBezTo>
                    <a:pt x="1000" y="3436"/>
                    <a:pt x="1281" y="3092"/>
                    <a:pt x="1343" y="2967"/>
                  </a:cubicBezTo>
                  <a:cubicBezTo>
                    <a:pt x="1437" y="2999"/>
                    <a:pt x="1718" y="3061"/>
                    <a:pt x="2093" y="3030"/>
                  </a:cubicBezTo>
                  <a:cubicBezTo>
                    <a:pt x="2656" y="3030"/>
                    <a:pt x="3156" y="2874"/>
                    <a:pt x="3531" y="2592"/>
                  </a:cubicBezTo>
                  <a:cubicBezTo>
                    <a:pt x="3843" y="2280"/>
                    <a:pt x="4031" y="1905"/>
                    <a:pt x="4031" y="1531"/>
                  </a:cubicBezTo>
                  <a:cubicBezTo>
                    <a:pt x="4031" y="1218"/>
                    <a:pt x="3906" y="906"/>
                    <a:pt x="3625" y="5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3" name="Freeform 2">
              <a:extLst>
                <a:ext uri="{FF2B5EF4-FFF2-40B4-BE49-F238E27FC236}">
                  <a16:creationId xmlns:a16="http://schemas.microsoft.com/office/drawing/2014/main" id="{CAD3F577-FAD4-4169-913E-31809A4FFBDC}"/>
                </a:ext>
              </a:extLst>
            </p:cNvPr>
            <p:cNvSpPr>
              <a:spLocks noChangeArrowheads="1"/>
            </p:cNvSpPr>
            <p:nvPr/>
          </p:nvSpPr>
          <p:spPr bwMode="auto">
            <a:xfrm>
              <a:off x="3983038" y="3201988"/>
              <a:ext cx="855662" cy="1338262"/>
            </a:xfrm>
            <a:custGeom>
              <a:avLst/>
              <a:gdLst>
                <a:gd name="T0" fmla="*/ 1781 w 2376"/>
                <a:gd name="T1" fmla="*/ 2811 h 3718"/>
                <a:gd name="T2" fmla="*/ 1781 w 2376"/>
                <a:gd name="T3" fmla="*/ 2811 h 3718"/>
                <a:gd name="T4" fmla="*/ 2375 w 2376"/>
                <a:gd name="T5" fmla="*/ 1687 h 3718"/>
                <a:gd name="T6" fmla="*/ 1750 w 2376"/>
                <a:gd name="T7" fmla="*/ 500 h 3718"/>
                <a:gd name="T8" fmla="*/ 282 w 2376"/>
                <a:gd name="T9" fmla="*/ 0 h 3718"/>
                <a:gd name="T10" fmla="*/ 0 w 2376"/>
                <a:gd name="T11" fmla="*/ 31 h 3718"/>
                <a:gd name="T12" fmla="*/ 782 w 2376"/>
                <a:gd name="T13" fmla="*/ 531 h 3718"/>
                <a:gd name="T14" fmla="*/ 1250 w 2376"/>
                <a:gd name="T15" fmla="*/ 1656 h 3718"/>
                <a:gd name="T16" fmla="*/ 625 w 2376"/>
                <a:gd name="T17" fmla="*/ 2905 h 3718"/>
                <a:gd name="T18" fmla="*/ 0 w 2376"/>
                <a:gd name="T19" fmla="*/ 3280 h 3718"/>
                <a:gd name="T20" fmla="*/ 875 w 2376"/>
                <a:gd name="T21" fmla="*/ 3249 h 3718"/>
                <a:gd name="T22" fmla="*/ 1938 w 2376"/>
                <a:gd name="T23" fmla="*/ 3717 h 3718"/>
                <a:gd name="T24" fmla="*/ 2219 w 2376"/>
                <a:gd name="T25" fmla="*/ 3717 h 3718"/>
                <a:gd name="T26" fmla="*/ 2032 w 2376"/>
                <a:gd name="T27" fmla="*/ 3530 h 3718"/>
                <a:gd name="T28" fmla="*/ 1781 w 2376"/>
                <a:gd name="T29" fmla="*/ 2811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6" h="3718">
                  <a:moveTo>
                    <a:pt x="1781" y="2811"/>
                  </a:moveTo>
                  <a:lnTo>
                    <a:pt x="1781" y="2811"/>
                  </a:lnTo>
                  <a:cubicBezTo>
                    <a:pt x="2157" y="2499"/>
                    <a:pt x="2375" y="2092"/>
                    <a:pt x="2375" y="1687"/>
                  </a:cubicBezTo>
                  <a:cubicBezTo>
                    <a:pt x="2375" y="1218"/>
                    <a:pt x="2188" y="812"/>
                    <a:pt x="1750" y="500"/>
                  </a:cubicBezTo>
                  <a:cubicBezTo>
                    <a:pt x="1344" y="187"/>
                    <a:pt x="844" y="0"/>
                    <a:pt x="282" y="0"/>
                  </a:cubicBezTo>
                  <a:cubicBezTo>
                    <a:pt x="188" y="0"/>
                    <a:pt x="94" y="0"/>
                    <a:pt x="0" y="31"/>
                  </a:cubicBezTo>
                  <a:cubicBezTo>
                    <a:pt x="282" y="125"/>
                    <a:pt x="563" y="312"/>
                    <a:pt x="782" y="531"/>
                  </a:cubicBezTo>
                  <a:cubicBezTo>
                    <a:pt x="1094" y="843"/>
                    <a:pt x="1250" y="1218"/>
                    <a:pt x="1250" y="1656"/>
                  </a:cubicBezTo>
                  <a:cubicBezTo>
                    <a:pt x="1250" y="2124"/>
                    <a:pt x="1032" y="2592"/>
                    <a:pt x="625" y="2905"/>
                  </a:cubicBezTo>
                  <a:cubicBezTo>
                    <a:pt x="438" y="3061"/>
                    <a:pt x="219" y="3186"/>
                    <a:pt x="0" y="3280"/>
                  </a:cubicBezTo>
                  <a:cubicBezTo>
                    <a:pt x="282" y="3311"/>
                    <a:pt x="563" y="3280"/>
                    <a:pt x="875" y="3249"/>
                  </a:cubicBezTo>
                  <a:cubicBezTo>
                    <a:pt x="1125" y="3561"/>
                    <a:pt x="1469" y="3717"/>
                    <a:pt x="1938" y="3717"/>
                  </a:cubicBezTo>
                  <a:cubicBezTo>
                    <a:pt x="2219" y="3717"/>
                    <a:pt x="2219" y="3717"/>
                    <a:pt x="2219" y="3717"/>
                  </a:cubicBezTo>
                  <a:cubicBezTo>
                    <a:pt x="2032" y="3530"/>
                    <a:pt x="2032" y="3530"/>
                    <a:pt x="2032" y="3530"/>
                  </a:cubicBezTo>
                  <a:cubicBezTo>
                    <a:pt x="1813" y="3311"/>
                    <a:pt x="1750" y="3092"/>
                    <a:pt x="1781" y="28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4" name="Freeform 3">
              <a:extLst>
                <a:ext uri="{FF2B5EF4-FFF2-40B4-BE49-F238E27FC236}">
                  <a16:creationId xmlns:a16="http://schemas.microsoft.com/office/drawing/2014/main" id="{8EDCAE06-9FA2-4B47-B181-6930B4A19E56}"/>
                </a:ext>
              </a:extLst>
            </p:cNvPr>
            <p:cNvSpPr>
              <a:spLocks noChangeArrowheads="1"/>
            </p:cNvSpPr>
            <p:nvPr/>
          </p:nvSpPr>
          <p:spPr bwMode="auto">
            <a:xfrm>
              <a:off x="2836863" y="3201988"/>
              <a:ext cx="1530350" cy="1382712"/>
            </a:xfrm>
            <a:custGeom>
              <a:avLst/>
              <a:gdLst>
                <a:gd name="T0" fmla="*/ 219 w 4251"/>
                <a:gd name="T1" fmla="*/ 3717 h 3843"/>
                <a:gd name="T2" fmla="*/ 219 w 4251"/>
                <a:gd name="T3" fmla="*/ 3717 h 3843"/>
                <a:gd name="T4" fmla="*/ 594 w 4251"/>
                <a:gd name="T5" fmla="*/ 2811 h 3843"/>
                <a:gd name="T6" fmla="*/ 0 w 4251"/>
                <a:gd name="T7" fmla="*/ 1656 h 3843"/>
                <a:gd name="T8" fmla="*/ 625 w 4251"/>
                <a:gd name="T9" fmla="*/ 500 h 3843"/>
                <a:gd name="T10" fmla="*/ 2094 w 4251"/>
                <a:gd name="T11" fmla="*/ 0 h 3843"/>
                <a:gd name="T12" fmla="*/ 2094 w 4251"/>
                <a:gd name="T13" fmla="*/ 0 h 3843"/>
                <a:gd name="T14" fmla="*/ 3781 w 4251"/>
                <a:gd name="T15" fmla="*/ 625 h 3843"/>
                <a:gd name="T16" fmla="*/ 4250 w 4251"/>
                <a:gd name="T17" fmla="*/ 1656 h 3843"/>
                <a:gd name="T18" fmla="*/ 3656 w 4251"/>
                <a:gd name="T19" fmla="*/ 2780 h 3843"/>
                <a:gd name="T20" fmla="*/ 1469 w 4251"/>
                <a:gd name="T21" fmla="*/ 3217 h 3843"/>
                <a:gd name="T22" fmla="*/ 219 w 4251"/>
                <a:gd name="T23" fmla="*/ 3717 h 3843"/>
                <a:gd name="T24" fmla="*/ 719 w 4251"/>
                <a:gd name="T25" fmla="*/ 625 h 3843"/>
                <a:gd name="T26" fmla="*/ 719 w 4251"/>
                <a:gd name="T27" fmla="*/ 625 h 3843"/>
                <a:gd name="T28" fmla="*/ 187 w 4251"/>
                <a:gd name="T29" fmla="*/ 1656 h 3843"/>
                <a:gd name="T30" fmla="*/ 750 w 4251"/>
                <a:gd name="T31" fmla="*/ 2686 h 3843"/>
                <a:gd name="T32" fmla="*/ 625 w 4251"/>
                <a:gd name="T33" fmla="*/ 3530 h 3843"/>
                <a:gd name="T34" fmla="*/ 1406 w 4251"/>
                <a:gd name="T35" fmla="*/ 3030 h 3843"/>
                <a:gd name="T36" fmla="*/ 3562 w 4251"/>
                <a:gd name="T37" fmla="*/ 2655 h 3843"/>
                <a:gd name="T38" fmla="*/ 4062 w 4251"/>
                <a:gd name="T39" fmla="*/ 1656 h 3843"/>
                <a:gd name="T40" fmla="*/ 3656 w 4251"/>
                <a:gd name="T41" fmla="*/ 750 h 3843"/>
                <a:gd name="T42" fmla="*/ 2094 w 4251"/>
                <a:gd name="T43" fmla="*/ 187 h 3843"/>
                <a:gd name="T44" fmla="*/ 719 w 4251"/>
                <a:gd name="T45" fmla="*/ 625 h 3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51" h="3843">
                  <a:moveTo>
                    <a:pt x="219" y="3717"/>
                  </a:moveTo>
                  <a:lnTo>
                    <a:pt x="219" y="3717"/>
                  </a:lnTo>
                  <a:cubicBezTo>
                    <a:pt x="219" y="3717"/>
                    <a:pt x="656" y="3342"/>
                    <a:pt x="594" y="2811"/>
                  </a:cubicBezTo>
                  <a:cubicBezTo>
                    <a:pt x="219" y="2499"/>
                    <a:pt x="0" y="2092"/>
                    <a:pt x="0" y="1656"/>
                  </a:cubicBezTo>
                  <a:cubicBezTo>
                    <a:pt x="0" y="1218"/>
                    <a:pt x="219" y="812"/>
                    <a:pt x="625" y="500"/>
                  </a:cubicBezTo>
                  <a:cubicBezTo>
                    <a:pt x="1031" y="187"/>
                    <a:pt x="1531" y="0"/>
                    <a:pt x="2094" y="0"/>
                  </a:cubicBezTo>
                  <a:lnTo>
                    <a:pt x="2094" y="0"/>
                  </a:lnTo>
                  <a:cubicBezTo>
                    <a:pt x="2781" y="0"/>
                    <a:pt x="3375" y="218"/>
                    <a:pt x="3781" y="625"/>
                  </a:cubicBezTo>
                  <a:cubicBezTo>
                    <a:pt x="4094" y="937"/>
                    <a:pt x="4250" y="1281"/>
                    <a:pt x="4250" y="1656"/>
                  </a:cubicBezTo>
                  <a:cubicBezTo>
                    <a:pt x="4250" y="2092"/>
                    <a:pt x="4031" y="2499"/>
                    <a:pt x="3656" y="2780"/>
                  </a:cubicBezTo>
                  <a:cubicBezTo>
                    <a:pt x="3125" y="3217"/>
                    <a:pt x="2344" y="3374"/>
                    <a:pt x="1469" y="3217"/>
                  </a:cubicBezTo>
                  <a:cubicBezTo>
                    <a:pt x="1125" y="3842"/>
                    <a:pt x="219" y="3717"/>
                    <a:pt x="219" y="3717"/>
                  </a:cubicBezTo>
                  <a:close/>
                  <a:moveTo>
                    <a:pt x="719" y="625"/>
                  </a:moveTo>
                  <a:lnTo>
                    <a:pt x="719" y="625"/>
                  </a:lnTo>
                  <a:cubicBezTo>
                    <a:pt x="375" y="906"/>
                    <a:pt x="156" y="1281"/>
                    <a:pt x="187" y="1656"/>
                  </a:cubicBezTo>
                  <a:cubicBezTo>
                    <a:pt x="219" y="2374"/>
                    <a:pt x="750" y="2686"/>
                    <a:pt x="750" y="2686"/>
                  </a:cubicBezTo>
                  <a:cubicBezTo>
                    <a:pt x="750" y="2686"/>
                    <a:pt x="875" y="3186"/>
                    <a:pt x="625" y="3530"/>
                  </a:cubicBezTo>
                  <a:cubicBezTo>
                    <a:pt x="1125" y="3499"/>
                    <a:pt x="1406" y="3030"/>
                    <a:pt x="1406" y="3030"/>
                  </a:cubicBezTo>
                  <a:cubicBezTo>
                    <a:pt x="1406" y="3030"/>
                    <a:pt x="2719" y="3342"/>
                    <a:pt x="3562" y="2655"/>
                  </a:cubicBezTo>
                  <a:cubicBezTo>
                    <a:pt x="3875" y="2374"/>
                    <a:pt x="4062" y="2030"/>
                    <a:pt x="4062" y="1656"/>
                  </a:cubicBezTo>
                  <a:cubicBezTo>
                    <a:pt x="4062" y="1312"/>
                    <a:pt x="3906" y="1031"/>
                    <a:pt x="3656" y="750"/>
                  </a:cubicBezTo>
                  <a:cubicBezTo>
                    <a:pt x="3281" y="375"/>
                    <a:pt x="2656" y="187"/>
                    <a:pt x="2094" y="187"/>
                  </a:cubicBezTo>
                  <a:cubicBezTo>
                    <a:pt x="1562" y="187"/>
                    <a:pt x="1094" y="343"/>
                    <a:pt x="719" y="62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17" name="Oval 16">
            <a:extLst>
              <a:ext uri="{FF2B5EF4-FFF2-40B4-BE49-F238E27FC236}">
                <a16:creationId xmlns:a16="http://schemas.microsoft.com/office/drawing/2014/main" id="{81CF0B15-F031-4AF7-B652-ABA92EA1C214}"/>
              </a:ext>
            </a:extLst>
          </p:cNvPr>
          <p:cNvSpPr/>
          <p:nvPr/>
        </p:nvSpPr>
        <p:spPr>
          <a:xfrm>
            <a:off x="11008413" y="36609"/>
            <a:ext cx="148708" cy="148708"/>
          </a:xfrm>
          <a:prstGeom prst="ellipse">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95C5C9"/>
              </a:solidFill>
              <a:effectLst/>
              <a:uLnTx/>
              <a:uFillTx/>
              <a:latin typeface="Corbel" panose="020B0503020204020204" pitchFamily="34" charset="0"/>
              <a:ea typeface="+mn-ea"/>
              <a:cs typeface="+mn-cs"/>
            </a:endParaRPr>
          </a:p>
        </p:txBody>
      </p:sp>
      <p:sp>
        <p:nvSpPr>
          <p:cNvPr id="18" name="TextBox 17">
            <a:extLst>
              <a:ext uri="{FF2B5EF4-FFF2-40B4-BE49-F238E27FC236}">
                <a16:creationId xmlns:a16="http://schemas.microsoft.com/office/drawing/2014/main" id="{54333A3E-F8F9-48B0-AA3F-8FF795166FC8}"/>
              </a:ext>
            </a:extLst>
          </p:cNvPr>
          <p:cNvSpPr txBox="1"/>
          <p:nvPr/>
        </p:nvSpPr>
        <p:spPr>
          <a:xfrm>
            <a:off x="10067055"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1</a:t>
            </a:r>
            <a:endParaRPr lang="nl-NL" noProof="0" dirty="0">
              <a:solidFill>
                <a:srgbClr val="95C5C9"/>
              </a:solidFill>
            </a:endParaRPr>
          </a:p>
        </p:txBody>
      </p:sp>
      <p:sp>
        <p:nvSpPr>
          <p:cNvPr id="19" name="TextBox 18">
            <a:extLst>
              <a:ext uri="{FF2B5EF4-FFF2-40B4-BE49-F238E27FC236}">
                <a16:creationId xmlns:a16="http://schemas.microsoft.com/office/drawing/2014/main" id="{F11BAC19-BDC6-4E18-91B2-ACB72F19CEBF}"/>
              </a:ext>
            </a:extLst>
          </p:cNvPr>
          <p:cNvSpPr txBox="1"/>
          <p:nvPr/>
        </p:nvSpPr>
        <p:spPr>
          <a:xfrm>
            <a:off x="10256482"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2</a:t>
            </a:r>
          </a:p>
        </p:txBody>
      </p:sp>
      <p:sp>
        <p:nvSpPr>
          <p:cNvPr id="20" name="TextBox 19">
            <a:extLst>
              <a:ext uri="{FF2B5EF4-FFF2-40B4-BE49-F238E27FC236}">
                <a16:creationId xmlns:a16="http://schemas.microsoft.com/office/drawing/2014/main" id="{BB2F4E2A-8086-4D51-9AA8-7AC4ECAAF631}"/>
              </a:ext>
            </a:extLst>
          </p:cNvPr>
          <p:cNvSpPr txBox="1"/>
          <p:nvPr/>
        </p:nvSpPr>
        <p:spPr>
          <a:xfrm>
            <a:off x="10445909"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3</a:t>
            </a:r>
          </a:p>
        </p:txBody>
      </p:sp>
      <p:sp>
        <p:nvSpPr>
          <p:cNvPr id="25" name="TextBox 24">
            <a:extLst>
              <a:ext uri="{FF2B5EF4-FFF2-40B4-BE49-F238E27FC236}">
                <a16:creationId xmlns:a16="http://schemas.microsoft.com/office/drawing/2014/main" id="{ADD710EE-0F34-4A87-8A36-0E242C9E6556}"/>
              </a:ext>
            </a:extLst>
          </p:cNvPr>
          <p:cNvSpPr txBox="1"/>
          <p:nvPr/>
        </p:nvSpPr>
        <p:spPr>
          <a:xfrm>
            <a:off x="10635336"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4</a:t>
            </a:r>
            <a:endParaRPr lang="nl-NL" noProof="0" dirty="0">
              <a:solidFill>
                <a:srgbClr val="95C5C9"/>
              </a:solidFill>
            </a:endParaRPr>
          </a:p>
        </p:txBody>
      </p:sp>
      <p:sp>
        <p:nvSpPr>
          <p:cNvPr id="26" name="TextBox 25">
            <a:extLst>
              <a:ext uri="{FF2B5EF4-FFF2-40B4-BE49-F238E27FC236}">
                <a16:creationId xmlns:a16="http://schemas.microsoft.com/office/drawing/2014/main" id="{792CF7E5-8998-4A1D-8510-1A9E889D6396}"/>
              </a:ext>
            </a:extLst>
          </p:cNvPr>
          <p:cNvSpPr txBox="1"/>
          <p:nvPr/>
        </p:nvSpPr>
        <p:spPr>
          <a:xfrm>
            <a:off x="10824763"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5</a:t>
            </a:r>
            <a:endParaRPr lang="nl-NL" sz="1000" noProof="0" dirty="0">
              <a:solidFill>
                <a:srgbClr val="95C5C9"/>
              </a:solidFill>
            </a:endParaRPr>
          </a:p>
        </p:txBody>
      </p:sp>
      <p:sp>
        <p:nvSpPr>
          <p:cNvPr id="27" name="TextBox 26">
            <a:extLst>
              <a:ext uri="{FF2B5EF4-FFF2-40B4-BE49-F238E27FC236}">
                <a16:creationId xmlns:a16="http://schemas.microsoft.com/office/drawing/2014/main" id="{E40D0D37-126A-46F7-AC8C-5DCE0F803697}"/>
              </a:ext>
            </a:extLst>
          </p:cNvPr>
          <p:cNvSpPr txBox="1"/>
          <p:nvPr/>
        </p:nvSpPr>
        <p:spPr>
          <a:xfrm>
            <a:off x="11014190" y="40328"/>
            <a:ext cx="137154" cy="141270"/>
          </a:xfrm>
          <a:prstGeom prst="rect">
            <a:avLst/>
          </a:prstGeom>
        </p:spPr>
        <p:txBody>
          <a:bodyPr vert="horz" wrap="square" lIns="0" tIns="0" rIns="0" bIns="0" rtlCol="0" anchor="ctr">
            <a:noAutofit/>
          </a:bodyPr>
          <a:lstStyle/>
          <a:p>
            <a:pPr marL="0" indent="0" algn="ctr">
              <a:buNone/>
            </a:pPr>
            <a:r>
              <a:rPr lang="nl-NL" sz="1000" b="1" noProof="0" dirty="0">
                <a:solidFill>
                  <a:srgbClr val="95C5C9"/>
                </a:solidFill>
              </a:rPr>
              <a:t>6</a:t>
            </a:r>
          </a:p>
        </p:txBody>
      </p:sp>
      <p:sp>
        <p:nvSpPr>
          <p:cNvPr id="28" name="TextBox 27">
            <a:extLst>
              <a:ext uri="{FF2B5EF4-FFF2-40B4-BE49-F238E27FC236}">
                <a16:creationId xmlns:a16="http://schemas.microsoft.com/office/drawing/2014/main" id="{D86987AA-49C4-4B15-83B2-6E315FA0C4A2}"/>
              </a:ext>
            </a:extLst>
          </p:cNvPr>
          <p:cNvSpPr txBox="1"/>
          <p:nvPr/>
        </p:nvSpPr>
        <p:spPr>
          <a:xfrm>
            <a:off x="11203617"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7</a:t>
            </a:r>
            <a:endParaRPr lang="nl-NL" sz="1000" noProof="0" dirty="0">
              <a:solidFill>
                <a:srgbClr val="95C5C9"/>
              </a:solidFill>
            </a:endParaRPr>
          </a:p>
        </p:txBody>
      </p:sp>
    </p:spTree>
    <p:extLst>
      <p:ext uri="{BB962C8B-B14F-4D97-AF65-F5344CB8AC3E}">
        <p14:creationId xmlns:p14="http://schemas.microsoft.com/office/powerpoint/2010/main" val="10168866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ABE98B0-3C8A-43C8-8200-5975A1E67A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54"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CABE98B0-3C8A-43C8-8200-5975A1E67A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1442" name="Picture 2">
            <a:extLst>
              <a:ext uri="{FF2B5EF4-FFF2-40B4-BE49-F238E27FC236}">
                <a16:creationId xmlns:a16="http://schemas.microsoft.com/office/drawing/2014/main" id="{F31421FC-687C-4775-BBCA-9AC90E0C78E6}"/>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D85439E5-6E0C-4BFB-9E2A-FA280E638BDE}"/>
              </a:ext>
            </a:extLst>
          </p:cNvPr>
          <p:cNvSpPr/>
          <p:nvPr/>
        </p:nvSpPr>
        <p:spPr>
          <a:xfrm>
            <a:off x="0" y="-2"/>
            <a:ext cx="12191999" cy="6858001"/>
          </a:xfrm>
          <a:prstGeom prst="rect">
            <a:avLst/>
          </a:prstGeom>
          <a:solidFill>
            <a:schemeClr val="bg1">
              <a:lumMod val="95000"/>
              <a:alpha val="84000"/>
            </a:schemeClr>
          </a:solidFill>
          <a:ln>
            <a:noFill/>
          </a:ln>
        </p:spPr>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0" indent="0">
              <a:lnSpc>
                <a:spcPct val="100000"/>
              </a:lnSpc>
              <a:buNone/>
            </a:pPr>
            <a:r>
              <a:rPr lang="nl-NL" sz="4400" b="1" dirty="0">
                <a:solidFill>
                  <a:srgbClr val="22777B"/>
                </a:solidFill>
              </a:rPr>
              <a:t>Vraag 7</a:t>
            </a:r>
          </a:p>
          <a:p>
            <a:pPr marL="0" indent="0">
              <a:lnSpc>
                <a:spcPct val="100000"/>
              </a:lnSpc>
              <a:buNone/>
            </a:pPr>
            <a:br>
              <a:rPr lang="nl-NL" sz="2400" dirty="0"/>
            </a:br>
            <a:r>
              <a:rPr lang="nl-NL" sz="2400" dirty="0"/>
              <a:t>Het is vaak van belang om na ingevoerd beleid te evalueren of dit nuttig was. Stel we zouden een aantal maatregelen doorvoeren om het lerarentekort tegen te gaan, waar we het in vraag 4 over hebben gehad. Op welke manier zou je het nut en de effectiviteit van dit beleid evalueren? </a:t>
            </a:r>
          </a:p>
        </p:txBody>
      </p:sp>
      <p:grpSp>
        <p:nvGrpSpPr>
          <p:cNvPr id="21" name="Group 20">
            <a:extLst>
              <a:ext uri="{FF2B5EF4-FFF2-40B4-BE49-F238E27FC236}">
                <a16:creationId xmlns:a16="http://schemas.microsoft.com/office/drawing/2014/main" id="{C5578B65-C922-42B5-B58E-017E05320628}"/>
              </a:ext>
            </a:extLst>
          </p:cNvPr>
          <p:cNvGrpSpPr/>
          <p:nvPr/>
        </p:nvGrpSpPr>
        <p:grpSpPr>
          <a:xfrm>
            <a:off x="2221410" y="260350"/>
            <a:ext cx="736493" cy="508712"/>
            <a:chOff x="2836863" y="3201988"/>
            <a:chExt cx="2001837" cy="1382712"/>
          </a:xfrm>
          <a:solidFill>
            <a:schemeClr val="tx2"/>
          </a:solidFill>
        </p:grpSpPr>
        <p:sp>
          <p:nvSpPr>
            <p:cNvPr id="22" name="Freeform 1">
              <a:extLst>
                <a:ext uri="{FF2B5EF4-FFF2-40B4-BE49-F238E27FC236}">
                  <a16:creationId xmlns:a16="http://schemas.microsoft.com/office/drawing/2014/main" id="{3B7896AF-670D-49F2-865F-D697DA861715}"/>
                </a:ext>
              </a:extLst>
            </p:cNvPr>
            <p:cNvSpPr>
              <a:spLocks noChangeArrowheads="1"/>
            </p:cNvSpPr>
            <p:nvPr/>
          </p:nvSpPr>
          <p:spPr bwMode="auto">
            <a:xfrm>
              <a:off x="2870200" y="3246438"/>
              <a:ext cx="1450975" cy="1247775"/>
            </a:xfrm>
            <a:custGeom>
              <a:avLst/>
              <a:gdLst>
                <a:gd name="T0" fmla="*/ 3625 w 4032"/>
                <a:gd name="T1" fmla="*/ 593 h 3468"/>
                <a:gd name="T2" fmla="*/ 3625 w 4032"/>
                <a:gd name="T3" fmla="*/ 593 h 3468"/>
                <a:gd name="T4" fmla="*/ 2000 w 4032"/>
                <a:gd name="T5" fmla="*/ 0 h 3468"/>
                <a:gd name="T6" fmla="*/ 593 w 4032"/>
                <a:gd name="T7" fmla="*/ 468 h 3468"/>
                <a:gd name="T8" fmla="*/ 593 w 4032"/>
                <a:gd name="T9" fmla="*/ 468 h 3468"/>
                <a:gd name="T10" fmla="*/ 31 w 4032"/>
                <a:gd name="T11" fmla="*/ 1531 h 3468"/>
                <a:gd name="T12" fmla="*/ 593 w 4032"/>
                <a:gd name="T13" fmla="*/ 2592 h 3468"/>
                <a:gd name="T14" fmla="*/ 500 w 4032"/>
                <a:gd name="T15" fmla="*/ 3374 h 3468"/>
                <a:gd name="T16" fmla="*/ 406 w 4032"/>
                <a:gd name="T17" fmla="*/ 3467 h 3468"/>
                <a:gd name="T18" fmla="*/ 531 w 4032"/>
                <a:gd name="T19" fmla="*/ 3467 h 3468"/>
                <a:gd name="T20" fmla="*/ 1343 w 4032"/>
                <a:gd name="T21" fmla="*/ 2967 h 3468"/>
                <a:gd name="T22" fmla="*/ 2093 w 4032"/>
                <a:gd name="T23" fmla="*/ 3030 h 3468"/>
                <a:gd name="T24" fmla="*/ 3531 w 4032"/>
                <a:gd name="T25" fmla="*/ 2592 h 3468"/>
                <a:gd name="T26" fmla="*/ 4031 w 4032"/>
                <a:gd name="T27" fmla="*/ 1531 h 3468"/>
                <a:gd name="T28" fmla="*/ 3625 w 4032"/>
                <a:gd name="T29" fmla="*/ 593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2" h="3468">
                  <a:moveTo>
                    <a:pt x="3625" y="593"/>
                  </a:moveTo>
                  <a:lnTo>
                    <a:pt x="3625" y="593"/>
                  </a:lnTo>
                  <a:cubicBezTo>
                    <a:pt x="3250" y="218"/>
                    <a:pt x="2625" y="0"/>
                    <a:pt x="2000" y="0"/>
                  </a:cubicBezTo>
                  <a:cubicBezTo>
                    <a:pt x="1468" y="0"/>
                    <a:pt x="1000" y="156"/>
                    <a:pt x="593" y="468"/>
                  </a:cubicBezTo>
                  <a:lnTo>
                    <a:pt x="593" y="468"/>
                  </a:lnTo>
                  <a:cubicBezTo>
                    <a:pt x="218" y="781"/>
                    <a:pt x="0" y="1156"/>
                    <a:pt x="31" y="1531"/>
                  </a:cubicBezTo>
                  <a:cubicBezTo>
                    <a:pt x="62" y="2217"/>
                    <a:pt x="500" y="2530"/>
                    <a:pt x="593" y="2592"/>
                  </a:cubicBezTo>
                  <a:cubicBezTo>
                    <a:pt x="625" y="2717"/>
                    <a:pt x="687" y="3092"/>
                    <a:pt x="500" y="3374"/>
                  </a:cubicBezTo>
                  <a:cubicBezTo>
                    <a:pt x="406" y="3467"/>
                    <a:pt x="406" y="3467"/>
                    <a:pt x="406" y="3467"/>
                  </a:cubicBezTo>
                  <a:cubicBezTo>
                    <a:pt x="531" y="3467"/>
                    <a:pt x="531" y="3467"/>
                    <a:pt x="531" y="3467"/>
                  </a:cubicBezTo>
                  <a:cubicBezTo>
                    <a:pt x="1000" y="3436"/>
                    <a:pt x="1281" y="3092"/>
                    <a:pt x="1343" y="2967"/>
                  </a:cubicBezTo>
                  <a:cubicBezTo>
                    <a:pt x="1437" y="2999"/>
                    <a:pt x="1718" y="3061"/>
                    <a:pt x="2093" y="3030"/>
                  </a:cubicBezTo>
                  <a:cubicBezTo>
                    <a:pt x="2656" y="3030"/>
                    <a:pt x="3156" y="2874"/>
                    <a:pt x="3531" y="2592"/>
                  </a:cubicBezTo>
                  <a:cubicBezTo>
                    <a:pt x="3843" y="2280"/>
                    <a:pt x="4031" y="1905"/>
                    <a:pt x="4031" y="1531"/>
                  </a:cubicBezTo>
                  <a:cubicBezTo>
                    <a:pt x="4031" y="1218"/>
                    <a:pt x="3906" y="906"/>
                    <a:pt x="3625" y="5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3" name="Freeform 2">
              <a:extLst>
                <a:ext uri="{FF2B5EF4-FFF2-40B4-BE49-F238E27FC236}">
                  <a16:creationId xmlns:a16="http://schemas.microsoft.com/office/drawing/2014/main" id="{CAD3F577-FAD4-4169-913E-31809A4FFBDC}"/>
                </a:ext>
              </a:extLst>
            </p:cNvPr>
            <p:cNvSpPr>
              <a:spLocks noChangeArrowheads="1"/>
            </p:cNvSpPr>
            <p:nvPr/>
          </p:nvSpPr>
          <p:spPr bwMode="auto">
            <a:xfrm>
              <a:off x="3983038" y="3201988"/>
              <a:ext cx="855662" cy="1338262"/>
            </a:xfrm>
            <a:custGeom>
              <a:avLst/>
              <a:gdLst>
                <a:gd name="T0" fmla="*/ 1781 w 2376"/>
                <a:gd name="T1" fmla="*/ 2811 h 3718"/>
                <a:gd name="T2" fmla="*/ 1781 w 2376"/>
                <a:gd name="T3" fmla="*/ 2811 h 3718"/>
                <a:gd name="T4" fmla="*/ 2375 w 2376"/>
                <a:gd name="T5" fmla="*/ 1687 h 3718"/>
                <a:gd name="T6" fmla="*/ 1750 w 2376"/>
                <a:gd name="T7" fmla="*/ 500 h 3718"/>
                <a:gd name="T8" fmla="*/ 282 w 2376"/>
                <a:gd name="T9" fmla="*/ 0 h 3718"/>
                <a:gd name="T10" fmla="*/ 0 w 2376"/>
                <a:gd name="T11" fmla="*/ 31 h 3718"/>
                <a:gd name="T12" fmla="*/ 782 w 2376"/>
                <a:gd name="T13" fmla="*/ 531 h 3718"/>
                <a:gd name="T14" fmla="*/ 1250 w 2376"/>
                <a:gd name="T15" fmla="*/ 1656 h 3718"/>
                <a:gd name="T16" fmla="*/ 625 w 2376"/>
                <a:gd name="T17" fmla="*/ 2905 h 3718"/>
                <a:gd name="T18" fmla="*/ 0 w 2376"/>
                <a:gd name="T19" fmla="*/ 3280 h 3718"/>
                <a:gd name="T20" fmla="*/ 875 w 2376"/>
                <a:gd name="T21" fmla="*/ 3249 h 3718"/>
                <a:gd name="T22" fmla="*/ 1938 w 2376"/>
                <a:gd name="T23" fmla="*/ 3717 h 3718"/>
                <a:gd name="T24" fmla="*/ 2219 w 2376"/>
                <a:gd name="T25" fmla="*/ 3717 h 3718"/>
                <a:gd name="T26" fmla="*/ 2032 w 2376"/>
                <a:gd name="T27" fmla="*/ 3530 h 3718"/>
                <a:gd name="T28" fmla="*/ 1781 w 2376"/>
                <a:gd name="T29" fmla="*/ 2811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6" h="3718">
                  <a:moveTo>
                    <a:pt x="1781" y="2811"/>
                  </a:moveTo>
                  <a:lnTo>
                    <a:pt x="1781" y="2811"/>
                  </a:lnTo>
                  <a:cubicBezTo>
                    <a:pt x="2157" y="2499"/>
                    <a:pt x="2375" y="2092"/>
                    <a:pt x="2375" y="1687"/>
                  </a:cubicBezTo>
                  <a:cubicBezTo>
                    <a:pt x="2375" y="1218"/>
                    <a:pt x="2188" y="812"/>
                    <a:pt x="1750" y="500"/>
                  </a:cubicBezTo>
                  <a:cubicBezTo>
                    <a:pt x="1344" y="187"/>
                    <a:pt x="844" y="0"/>
                    <a:pt x="282" y="0"/>
                  </a:cubicBezTo>
                  <a:cubicBezTo>
                    <a:pt x="188" y="0"/>
                    <a:pt x="94" y="0"/>
                    <a:pt x="0" y="31"/>
                  </a:cubicBezTo>
                  <a:cubicBezTo>
                    <a:pt x="282" y="125"/>
                    <a:pt x="563" y="312"/>
                    <a:pt x="782" y="531"/>
                  </a:cubicBezTo>
                  <a:cubicBezTo>
                    <a:pt x="1094" y="843"/>
                    <a:pt x="1250" y="1218"/>
                    <a:pt x="1250" y="1656"/>
                  </a:cubicBezTo>
                  <a:cubicBezTo>
                    <a:pt x="1250" y="2124"/>
                    <a:pt x="1032" y="2592"/>
                    <a:pt x="625" y="2905"/>
                  </a:cubicBezTo>
                  <a:cubicBezTo>
                    <a:pt x="438" y="3061"/>
                    <a:pt x="219" y="3186"/>
                    <a:pt x="0" y="3280"/>
                  </a:cubicBezTo>
                  <a:cubicBezTo>
                    <a:pt x="282" y="3311"/>
                    <a:pt x="563" y="3280"/>
                    <a:pt x="875" y="3249"/>
                  </a:cubicBezTo>
                  <a:cubicBezTo>
                    <a:pt x="1125" y="3561"/>
                    <a:pt x="1469" y="3717"/>
                    <a:pt x="1938" y="3717"/>
                  </a:cubicBezTo>
                  <a:cubicBezTo>
                    <a:pt x="2219" y="3717"/>
                    <a:pt x="2219" y="3717"/>
                    <a:pt x="2219" y="3717"/>
                  </a:cubicBezTo>
                  <a:cubicBezTo>
                    <a:pt x="2032" y="3530"/>
                    <a:pt x="2032" y="3530"/>
                    <a:pt x="2032" y="3530"/>
                  </a:cubicBezTo>
                  <a:cubicBezTo>
                    <a:pt x="1813" y="3311"/>
                    <a:pt x="1750" y="3092"/>
                    <a:pt x="1781" y="28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4" name="Freeform 3">
              <a:extLst>
                <a:ext uri="{FF2B5EF4-FFF2-40B4-BE49-F238E27FC236}">
                  <a16:creationId xmlns:a16="http://schemas.microsoft.com/office/drawing/2014/main" id="{8EDCAE06-9FA2-4B47-B181-6930B4A19E56}"/>
                </a:ext>
              </a:extLst>
            </p:cNvPr>
            <p:cNvSpPr>
              <a:spLocks noChangeArrowheads="1"/>
            </p:cNvSpPr>
            <p:nvPr/>
          </p:nvSpPr>
          <p:spPr bwMode="auto">
            <a:xfrm>
              <a:off x="2836863" y="3201988"/>
              <a:ext cx="1530350" cy="1382712"/>
            </a:xfrm>
            <a:custGeom>
              <a:avLst/>
              <a:gdLst>
                <a:gd name="T0" fmla="*/ 219 w 4251"/>
                <a:gd name="T1" fmla="*/ 3717 h 3843"/>
                <a:gd name="T2" fmla="*/ 219 w 4251"/>
                <a:gd name="T3" fmla="*/ 3717 h 3843"/>
                <a:gd name="T4" fmla="*/ 594 w 4251"/>
                <a:gd name="T5" fmla="*/ 2811 h 3843"/>
                <a:gd name="T6" fmla="*/ 0 w 4251"/>
                <a:gd name="T7" fmla="*/ 1656 h 3843"/>
                <a:gd name="T8" fmla="*/ 625 w 4251"/>
                <a:gd name="T9" fmla="*/ 500 h 3843"/>
                <a:gd name="T10" fmla="*/ 2094 w 4251"/>
                <a:gd name="T11" fmla="*/ 0 h 3843"/>
                <a:gd name="T12" fmla="*/ 2094 w 4251"/>
                <a:gd name="T13" fmla="*/ 0 h 3843"/>
                <a:gd name="T14" fmla="*/ 3781 w 4251"/>
                <a:gd name="T15" fmla="*/ 625 h 3843"/>
                <a:gd name="T16" fmla="*/ 4250 w 4251"/>
                <a:gd name="T17" fmla="*/ 1656 h 3843"/>
                <a:gd name="T18" fmla="*/ 3656 w 4251"/>
                <a:gd name="T19" fmla="*/ 2780 h 3843"/>
                <a:gd name="T20" fmla="*/ 1469 w 4251"/>
                <a:gd name="T21" fmla="*/ 3217 h 3843"/>
                <a:gd name="T22" fmla="*/ 219 w 4251"/>
                <a:gd name="T23" fmla="*/ 3717 h 3843"/>
                <a:gd name="T24" fmla="*/ 719 w 4251"/>
                <a:gd name="T25" fmla="*/ 625 h 3843"/>
                <a:gd name="T26" fmla="*/ 719 w 4251"/>
                <a:gd name="T27" fmla="*/ 625 h 3843"/>
                <a:gd name="T28" fmla="*/ 187 w 4251"/>
                <a:gd name="T29" fmla="*/ 1656 h 3843"/>
                <a:gd name="T30" fmla="*/ 750 w 4251"/>
                <a:gd name="T31" fmla="*/ 2686 h 3843"/>
                <a:gd name="T32" fmla="*/ 625 w 4251"/>
                <a:gd name="T33" fmla="*/ 3530 h 3843"/>
                <a:gd name="T34" fmla="*/ 1406 w 4251"/>
                <a:gd name="T35" fmla="*/ 3030 h 3843"/>
                <a:gd name="T36" fmla="*/ 3562 w 4251"/>
                <a:gd name="T37" fmla="*/ 2655 h 3843"/>
                <a:gd name="T38" fmla="*/ 4062 w 4251"/>
                <a:gd name="T39" fmla="*/ 1656 h 3843"/>
                <a:gd name="T40" fmla="*/ 3656 w 4251"/>
                <a:gd name="T41" fmla="*/ 750 h 3843"/>
                <a:gd name="T42" fmla="*/ 2094 w 4251"/>
                <a:gd name="T43" fmla="*/ 187 h 3843"/>
                <a:gd name="T44" fmla="*/ 719 w 4251"/>
                <a:gd name="T45" fmla="*/ 625 h 3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51" h="3843">
                  <a:moveTo>
                    <a:pt x="219" y="3717"/>
                  </a:moveTo>
                  <a:lnTo>
                    <a:pt x="219" y="3717"/>
                  </a:lnTo>
                  <a:cubicBezTo>
                    <a:pt x="219" y="3717"/>
                    <a:pt x="656" y="3342"/>
                    <a:pt x="594" y="2811"/>
                  </a:cubicBezTo>
                  <a:cubicBezTo>
                    <a:pt x="219" y="2499"/>
                    <a:pt x="0" y="2092"/>
                    <a:pt x="0" y="1656"/>
                  </a:cubicBezTo>
                  <a:cubicBezTo>
                    <a:pt x="0" y="1218"/>
                    <a:pt x="219" y="812"/>
                    <a:pt x="625" y="500"/>
                  </a:cubicBezTo>
                  <a:cubicBezTo>
                    <a:pt x="1031" y="187"/>
                    <a:pt x="1531" y="0"/>
                    <a:pt x="2094" y="0"/>
                  </a:cubicBezTo>
                  <a:lnTo>
                    <a:pt x="2094" y="0"/>
                  </a:lnTo>
                  <a:cubicBezTo>
                    <a:pt x="2781" y="0"/>
                    <a:pt x="3375" y="218"/>
                    <a:pt x="3781" y="625"/>
                  </a:cubicBezTo>
                  <a:cubicBezTo>
                    <a:pt x="4094" y="937"/>
                    <a:pt x="4250" y="1281"/>
                    <a:pt x="4250" y="1656"/>
                  </a:cubicBezTo>
                  <a:cubicBezTo>
                    <a:pt x="4250" y="2092"/>
                    <a:pt x="4031" y="2499"/>
                    <a:pt x="3656" y="2780"/>
                  </a:cubicBezTo>
                  <a:cubicBezTo>
                    <a:pt x="3125" y="3217"/>
                    <a:pt x="2344" y="3374"/>
                    <a:pt x="1469" y="3217"/>
                  </a:cubicBezTo>
                  <a:cubicBezTo>
                    <a:pt x="1125" y="3842"/>
                    <a:pt x="219" y="3717"/>
                    <a:pt x="219" y="3717"/>
                  </a:cubicBezTo>
                  <a:close/>
                  <a:moveTo>
                    <a:pt x="719" y="625"/>
                  </a:moveTo>
                  <a:lnTo>
                    <a:pt x="719" y="625"/>
                  </a:lnTo>
                  <a:cubicBezTo>
                    <a:pt x="375" y="906"/>
                    <a:pt x="156" y="1281"/>
                    <a:pt x="187" y="1656"/>
                  </a:cubicBezTo>
                  <a:cubicBezTo>
                    <a:pt x="219" y="2374"/>
                    <a:pt x="750" y="2686"/>
                    <a:pt x="750" y="2686"/>
                  </a:cubicBezTo>
                  <a:cubicBezTo>
                    <a:pt x="750" y="2686"/>
                    <a:pt x="875" y="3186"/>
                    <a:pt x="625" y="3530"/>
                  </a:cubicBezTo>
                  <a:cubicBezTo>
                    <a:pt x="1125" y="3499"/>
                    <a:pt x="1406" y="3030"/>
                    <a:pt x="1406" y="3030"/>
                  </a:cubicBezTo>
                  <a:cubicBezTo>
                    <a:pt x="1406" y="3030"/>
                    <a:pt x="2719" y="3342"/>
                    <a:pt x="3562" y="2655"/>
                  </a:cubicBezTo>
                  <a:cubicBezTo>
                    <a:pt x="3875" y="2374"/>
                    <a:pt x="4062" y="2030"/>
                    <a:pt x="4062" y="1656"/>
                  </a:cubicBezTo>
                  <a:cubicBezTo>
                    <a:pt x="4062" y="1312"/>
                    <a:pt x="3906" y="1031"/>
                    <a:pt x="3656" y="750"/>
                  </a:cubicBezTo>
                  <a:cubicBezTo>
                    <a:pt x="3281" y="375"/>
                    <a:pt x="2656" y="187"/>
                    <a:pt x="2094" y="187"/>
                  </a:cubicBezTo>
                  <a:cubicBezTo>
                    <a:pt x="1562" y="187"/>
                    <a:pt x="1094" y="343"/>
                    <a:pt x="719" y="62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25" name="Oval 24">
            <a:extLst>
              <a:ext uri="{FF2B5EF4-FFF2-40B4-BE49-F238E27FC236}">
                <a16:creationId xmlns:a16="http://schemas.microsoft.com/office/drawing/2014/main" id="{53DB093B-961A-4498-945B-BAC39966573A}"/>
              </a:ext>
            </a:extLst>
          </p:cNvPr>
          <p:cNvSpPr/>
          <p:nvPr/>
        </p:nvSpPr>
        <p:spPr>
          <a:xfrm>
            <a:off x="11197841" y="36609"/>
            <a:ext cx="148708" cy="148708"/>
          </a:xfrm>
          <a:prstGeom prst="ellipse">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95C5C9"/>
              </a:solidFill>
              <a:effectLst/>
              <a:uLnTx/>
              <a:uFillTx/>
              <a:latin typeface="Corbel" panose="020B0503020204020204" pitchFamily="34" charset="0"/>
              <a:ea typeface="+mn-ea"/>
              <a:cs typeface="+mn-cs"/>
            </a:endParaRPr>
          </a:p>
        </p:txBody>
      </p:sp>
      <p:sp>
        <p:nvSpPr>
          <p:cNvPr id="26" name="TextBox 25">
            <a:extLst>
              <a:ext uri="{FF2B5EF4-FFF2-40B4-BE49-F238E27FC236}">
                <a16:creationId xmlns:a16="http://schemas.microsoft.com/office/drawing/2014/main" id="{E0EECD48-66BD-470D-B361-7AB36E3213A8}"/>
              </a:ext>
            </a:extLst>
          </p:cNvPr>
          <p:cNvSpPr txBox="1"/>
          <p:nvPr/>
        </p:nvSpPr>
        <p:spPr>
          <a:xfrm>
            <a:off x="10067055"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1</a:t>
            </a:r>
            <a:endParaRPr lang="nl-NL" noProof="0" dirty="0">
              <a:solidFill>
                <a:srgbClr val="95C5C9"/>
              </a:solidFill>
            </a:endParaRPr>
          </a:p>
        </p:txBody>
      </p:sp>
      <p:sp>
        <p:nvSpPr>
          <p:cNvPr id="27" name="TextBox 26">
            <a:extLst>
              <a:ext uri="{FF2B5EF4-FFF2-40B4-BE49-F238E27FC236}">
                <a16:creationId xmlns:a16="http://schemas.microsoft.com/office/drawing/2014/main" id="{73B0BA0F-9AF2-4EDB-B02E-43212B305DF8}"/>
              </a:ext>
            </a:extLst>
          </p:cNvPr>
          <p:cNvSpPr txBox="1"/>
          <p:nvPr/>
        </p:nvSpPr>
        <p:spPr>
          <a:xfrm>
            <a:off x="10256482"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2</a:t>
            </a:r>
          </a:p>
        </p:txBody>
      </p:sp>
      <p:sp>
        <p:nvSpPr>
          <p:cNvPr id="28" name="TextBox 27">
            <a:extLst>
              <a:ext uri="{FF2B5EF4-FFF2-40B4-BE49-F238E27FC236}">
                <a16:creationId xmlns:a16="http://schemas.microsoft.com/office/drawing/2014/main" id="{69967CD1-33C4-4307-8DF4-40DFC67ECEEC}"/>
              </a:ext>
            </a:extLst>
          </p:cNvPr>
          <p:cNvSpPr txBox="1"/>
          <p:nvPr/>
        </p:nvSpPr>
        <p:spPr>
          <a:xfrm>
            <a:off x="10445909"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3</a:t>
            </a:r>
          </a:p>
        </p:txBody>
      </p:sp>
      <p:sp>
        <p:nvSpPr>
          <p:cNvPr id="29" name="TextBox 28">
            <a:extLst>
              <a:ext uri="{FF2B5EF4-FFF2-40B4-BE49-F238E27FC236}">
                <a16:creationId xmlns:a16="http://schemas.microsoft.com/office/drawing/2014/main" id="{E944C2B4-8A9B-4566-9651-5218936D6513}"/>
              </a:ext>
            </a:extLst>
          </p:cNvPr>
          <p:cNvSpPr txBox="1"/>
          <p:nvPr/>
        </p:nvSpPr>
        <p:spPr>
          <a:xfrm>
            <a:off x="10635336"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4</a:t>
            </a:r>
            <a:endParaRPr lang="nl-NL" noProof="0" dirty="0">
              <a:solidFill>
                <a:srgbClr val="95C5C9"/>
              </a:solidFill>
            </a:endParaRPr>
          </a:p>
        </p:txBody>
      </p:sp>
      <p:sp>
        <p:nvSpPr>
          <p:cNvPr id="30" name="TextBox 29">
            <a:extLst>
              <a:ext uri="{FF2B5EF4-FFF2-40B4-BE49-F238E27FC236}">
                <a16:creationId xmlns:a16="http://schemas.microsoft.com/office/drawing/2014/main" id="{1FF3FD14-530D-4829-99DB-196FFBAEF379}"/>
              </a:ext>
            </a:extLst>
          </p:cNvPr>
          <p:cNvSpPr txBox="1"/>
          <p:nvPr/>
        </p:nvSpPr>
        <p:spPr>
          <a:xfrm>
            <a:off x="10824763"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5</a:t>
            </a:r>
            <a:endParaRPr lang="nl-NL" sz="1000" noProof="0" dirty="0">
              <a:solidFill>
                <a:srgbClr val="95C5C9"/>
              </a:solidFill>
            </a:endParaRPr>
          </a:p>
        </p:txBody>
      </p:sp>
      <p:sp>
        <p:nvSpPr>
          <p:cNvPr id="31" name="TextBox 30">
            <a:extLst>
              <a:ext uri="{FF2B5EF4-FFF2-40B4-BE49-F238E27FC236}">
                <a16:creationId xmlns:a16="http://schemas.microsoft.com/office/drawing/2014/main" id="{AFE9EBC1-B5D7-403A-A497-F917AF9A2DFB}"/>
              </a:ext>
            </a:extLst>
          </p:cNvPr>
          <p:cNvSpPr txBox="1"/>
          <p:nvPr/>
        </p:nvSpPr>
        <p:spPr>
          <a:xfrm>
            <a:off x="11014190"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6</a:t>
            </a:r>
          </a:p>
        </p:txBody>
      </p:sp>
      <p:sp>
        <p:nvSpPr>
          <p:cNvPr id="32" name="TextBox 31">
            <a:extLst>
              <a:ext uri="{FF2B5EF4-FFF2-40B4-BE49-F238E27FC236}">
                <a16:creationId xmlns:a16="http://schemas.microsoft.com/office/drawing/2014/main" id="{0C84B8BC-DE0F-4D30-9E41-F998F78E0399}"/>
              </a:ext>
            </a:extLst>
          </p:cNvPr>
          <p:cNvSpPr txBox="1"/>
          <p:nvPr/>
        </p:nvSpPr>
        <p:spPr>
          <a:xfrm>
            <a:off x="11203617" y="40328"/>
            <a:ext cx="137154" cy="141270"/>
          </a:xfrm>
          <a:prstGeom prst="rect">
            <a:avLst/>
          </a:prstGeom>
        </p:spPr>
        <p:txBody>
          <a:bodyPr vert="horz" wrap="square" lIns="0" tIns="0" rIns="0" bIns="0" rtlCol="0" anchor="ctr">
            <a:noAutofit/>
          </a:bodyPr>
          <a:lstStyle/>
          <a:p>
            <a:pPr marL="0" indent="0" algn="ctr">
              <a:buNone/>
            </a:pPr>
            <a:r>
              <a:rPr lang="nl-NL" sz="1000" b="1" dirty="0">
                <a:solidFill>
                  <a:srgbClr val="95C5C9"/>
                </a:solidFill>
              </a:rPr>
              <a:t>7</a:t>
            </a:r>
            <a:endParaRPr lang="nl-NL" sz="1000" b="1" noProof="0" dirty="0">
              <a:solidFill>
                <a:srgbClr val="95C5C9"/>
              </a:solidFill>
            </a:endParaRPr>
          </a:p>
        </p:txBody>
      </p:sp>
    </p:spTree>
    <p:extLst>
      <p:ext uri="{BB962C8B-B14F-4D97-AF65-F5344CB8AC3E}">
        <p14:creationId xmlns:p14="http://schemas.microsoft.com/office/powerpoint/2010/main" val="36498082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ABE98B0-3C8A-43C8-8200-5975A1E67A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78" name="think-cell Slide" r:id="rId4" imgW="306" imgH="306" progId="TCLayout.ActiveDocument.1">
                  <p:embed/>
                </p:oleObj>
              </mc:Choice>
              <mc:Fallback>
                <p:oleObj name="think-cell Slide" r:id="rId4" imgW="306" imgH="306" progId="TCLayout.ActiveDocument.1">
                  <p:embed/>
                  <p:pic>
                    <p:nvPicPr>
                      <p:cNvPr id="10" name="Object 9" hidden="1">
                        <a:extLst>
                          <a:ext uri="{FF2B5EF4-FFF2-40B4-BE49-F238E27FC236}">
                            <a16:creationId xmlns:a16="http://schemas.microsoft.com/office/drawing/2014/main" id="{CABE98B0-3C8A-43C8-8200-5975A1E67A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B7005C69-C8D5-4CD2-A222-DB83596ED306}"/>
              </a:ext>
            </a:extLst>
          </p:cNvPr>
          <p:cNvSpPr>
            <a:spLocks noGrp="1"/>
          </p:cNvSpPr>
          <p:nvPr>
            <p:ph type="ftr" sz="quarter" idx="3"/>
          </p:nvPr>
        </p:nvSpPr>
        <p:spPr/>
        <p:txBody>
          <a:bodyPr/>
          <a:lstStyle/>
          <a:p>
            <a:r>
              <a:rPr lang="nl-NL" noProof="0"/>
              <a:t>Bron: </a:t>
            </a:r>
          </a:p>
        </p:txBody>
      </p:sp>
      <p:sp>
        <p:nvSpPr>
          <p:cNvPr id="5" name="Slide Number Placeholder 4">
            <a:extLst>
              <a:ext uri="{FF2B5EF4-FFF2-40B4-BE49-F238E27FC236}">
                <a16:creationId xmlns:a16="http://schemas.microsoft.com/office/drawing/2014/main" id="{884FD416-CB43-4A83-8EDE-DF8450D7AC65}"/>
              </a:ext>
            </a:extLst>
          </p:cNvPr>
          <p:cNvSpPr>
            <a:spLocks noGrp="1"/>
          </p:cNvSpPr>
          <p:nvPr>
            <p:ph type="sldNum" sz="quarter" idx="12"/>
          </p:nvPr>
        </p:nvSpPr>
        <p:spPr/>
        <p:txBody>
          <a:bodyPr/>
          <a:lstStyle/>
          <a:p>
            <a:fld id="{992CD0B2-8AB2-4C6C-8876-E15753662C9B}" type="slidenum">
              <a:rPr lang="nl-NL" noProof="0" smtClean="0"/>
              <a:pPr/>
              <a:t>27</a:t>
            </a:fld>
            <a:endParaRPr lang="nl-NL" noProof="0"/>
          </a:p>
        </p:txBody>
      </p:sp>
      <p:sp>
        <p:nvSpPr>
          <p:cNvPr id="30" name="Text Placeholder 5">
            <a:extLst>
              <a:ext uri="{FF2B5EF4-FFF2-40B4-BE49-F238E27FC236}">
                <a16:creationId xmlns:a16="http://schemas.microsoft.com/office/drawing/2014/main" id="{7347DDFB-778D-40B7-AB84-CA2BD033379C}"/>
              </a:ext>
            </a:extLst>
          </p:cNvPr>
          <p:cNvSpPr txBox="1">
            <a:spLocks/>
          </p:cNvSpPr>
          <p:nvPr/>
        </p:nvSpPr>
        <p:spPr>
          <a:xfrm>
            <a:off x="6031346" y="3673659"/>
            <a:ext cx="5511554" cy="2635066"/>
          </a:xfrm>
          <a:prstGeom prst="rect">
            <a:avLst/>
          </a:prstGeom>
          <a:solidFill>
            <a:schemeClr val="bg1"/>
          </a:solidFill>
          <a:ln>
            <a:solidFill>
              <a:schemeClr val="bg1">
                <a:lumMod val="85000"/>
              </a:schemeClr>
            </a:solidFill>
          </a:ln>
        </p:spPr>
        <p:txBody>
          <a:bodyPr vert="horz" lIns="54000" tIns="72000" rIns="54000" bIns="72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nSpc>
                <a:spcPct val="100000"/>
              </a:lnSpc>
            </a:pPr>
            <a:r>
              <a:rPr lang="nl-NL" sz="1200" dirty="0"/>
              <a:t>Hoe zou een onvoldoende antwoord eruit zien?</a:t>
            </a:r>
            <a:br>
              <a:rPr lang="nl-NL" sz="1200" dirty="0"/>
            </a:br>
            <a:r>
              <a:rPr lang="nl-NL" sz="1200" b="0" dirty="0"/>
              <a:t>Het gaat hier uiteindelijk om het lerarentekort. Dus de belangrijkste vraag is hoeveel leraren erbij zijn gekomen. Dus stel dat er in het jaar voor de invoer van de maatregelen 200 leraren bij zijn gekomen, en in het jaar daarna 230, dan weet je zeker dat deze 30 leraren een gevolg zijn van de maatregelen. Dit aantal telt en zou gestaafd moeten worden aan de te behalen doelstellingen.</a:t>
            </a:r>
            <a:endParaRPr lang="nl-NL" sz="1200" dirty="0"/>
          </a:p>
          <a:p>
            <a:pPr>
              <a:lnSpc>
                <a:spcPct val="100000"/>
              </a:lnSpc>
            </a:pPr>
            <a:endParaRPr lang="nl-NL" sz="1200" b="0" dirty="0"/>
          </a:p>
          <a:p>
            <a:pPr>
              <a:lnSpc>
                <a:spcPct val="100000"/>
              </a:lnSpc>
            </a:pPr>
            <a:r>
              <a:rPr lang="nl-NL" sz="1200" dirty="0"/>
              <a:t>Wat kan hier beter?</a:t>
            </a:r>
          </a:p>
          <a:p>
            <a:pPr marL="171450" indent="-171450">
              <a:lnSpc>
                <a:spcPct val="100000"/>
              </a:lnSpc>
              <a:buFont typeface="Wingdings" panose="05000000000000000000" pitchFamily="2" charset="2"/>
              <a:buChar char="§"/>
            </a:pPr>
            <a:r>
              <a:rPr lang="nl-NL" sz="1200" b="0" dirty="0"/>
              <a:t>Antwoord toont geen inzicht in het feit dat er mogelijk al een stijgende of dalende trend was, waardoor berekening beperkte waarde heeft </a:t>
            </a:r>
          </a:p>
          <a:p>
            <a:pPr marL="171450" indent="-171450">
              <a:lnSpc>
                <a:spcPct val="100000"/>
              </a:lnSpc>
              <a:buFont typeface="Wingdings" panose="05000000000000000000" pitchFamily="2" charset="2"/>
              <a:buChar char="§"/>
            </a:pPr>
            <a:r>
              <a:rPr lang="nl-NL" sz="1200" b="0" dirty="0"/>
              <a:t>Dit kwantitatieve onderzoek is mogelijk wat kortzichtig en dun, zo levert dit beperkt nieuw begrip op van de situatie.</a:t>
            </a:r>
          </a:p>
          <a:p>
            <a:endParaRPr lang="nl-NL" sz="1200" b="0" dirty="0"/>
          </a:p>
        </p:txBody>
      </p:sp>
      <p:sp>
        <p:nvSpPr>
          <p:cNvPr id="8" name="Text Placeholder 5">
            <a:extLst>
              <a:ext uri="{FF2B5EF4-FFF2-40B4-BE49-F238E27FC236}">
                <a16:creationId xmlns:a16="http://schemas.microsoft.com/office/drawing/2014/main" id="{590D4113-C0B4-44C6-867B-45E0549FB90F}"/>
              </a:ext>
            </a:extLst>
          </p:cNvPr>
          <p:cNvSpPr txBox="1">
            <a:spLocks/>
          </p:cNvSpPr>
          <p:nvPr/>
        </p:nvSpPr>
        <p:spPr>
          <a:xfrm>
            <a:off x="2952749" y="545413"/>
            <a:ext cx="8577451" cy="3053212"/>
          </a:xfrm>
          <a:prstGeom prst="rect">
            <a:avLst/>
          </a:prstGeom>
          <a:solidFill>
            <a:schemeClr val="bg1">
              <a:lumMod val="95000"/>
            </a:schemeClr>
          </a:solidFill>
          <a:ln>
            <a:solidFill>
              <a:srgbClr val="22777B"/>
            </a:solidFill>
          </a:ln>
        </p:spPr>
        <p:txBody>
          <a:bodyPr vert="horz" lIns="72000" tIns="72000" rIns="72000" bIns="72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nSpc>
                <a:spcPct val="100000"/>
              </a:lnSpc>
            </a:pPr>
            <a:r>
              <a:rPr lang="nl-NL" sz="1200" dirty="0"/>
              <a:t>Excellent antwoord</a:t>
            </a:r>
            <a:br>
              <a:rPr lang="nl-NL" sz="1200" dirty="0"/>
            </a:br>
            <a:r>
              <a:rPr lang="nl-NL" sz="1200" b="0" dirty="0"/>
              <a:t>Het uiteindelijke doel is om het lerarentekort te verminderen. Om het gevoerde beleid te evalueren zou ik dus met name willen weten wat de invloed van de maatregelen is op het totaal aantal leraren. Een kwantitatief onderzoek dus.</a:t>
            </a:r>
          </a:p>
          <a:p>
            <a:pPr>
              <a:lnSpc>
                <a:spcPct val="100000"/>
              </a:lnSpc>
            </a:pPr>
            <a:r>
              <a:rPr lang="nl-NL" sz="1200" b="0" dirty="0"/>
              <a:t>Hoe heeft het aantal leraren in de stad zich ontwikkeld, en hoe zou dat zijn geweest zonder de maatregelen. Een inschatting hiervan zou gemaakt kunnen worden door te kijken of er sinds het invoeren van de maatregelen een trendbreuk is ten opzichte van de eerdere prognoses. Het verschil hiertussen geeft een indicatie van het aantal leraren dat ten gevolge van de maatregelen erbij zijn gekomen.</a:t>
            </a:r>
            <a:endPar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a:lnSpc>
                <a:spcPct val="100000"/>
              </a:lnSpc>
            </a:pPr>
            <a:endParaRPr lang="nl-NL" sz="1200" b="0" dirty="0"/>
          </a:p>
          <a:p>
            <a:pPr>
              <a:lnSpc>
                <a:spcPct val="100000"/>
              </a:lnSpc>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Daarbij zou een kwalitatief onderzoek kunnen ondersteunen</a:t>
            </a:r>
            <a:r>
              <a:rPr lang="nl-NL" sz="1200" b="0" dirty="0"/>
              <a:t>n voor het begrip: bijvoorbeeld </a:t>
            </a: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terviews met leraren en schoolbestuurders om erachter te komen welke van de maatregelen het meest effectief zijn gebleken.</a:t>
            </a:r>
          </a:p>
          <a:p>
            <a:pPr>
              <a:lnSpc>
                <a:spcPct val="100000"/>
              </a:lnSpc>
            </a:pPr>
            <a:r>
              <a:rPr lang="nl-NL" sz="1200" b="0" dirty="0"/>
              <a:t>Ten slotte is het nuttig om erachter te komen of er ook negatieve effecten bekend zijn van de maatregelen. Ook deze zouden uitgevraagd kunnen worden in de interviews.</a:t>
            </a:r>
            <a:endPar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5" name="Text Placeholder 5">
            <a:extLst>
              <a:ext uri="{FF2B5EF4-FFF2-40B4-BE49-F238E27FC236}">
                <a16:creationId xmlns:a16="http://schemas.microsoft.com/office/drawing/2014/main" id="{D810EC08-28BB-4468-B85E-E1A870DBD8DF}"/>
              </a:ext>
            </a:extLst>
          </p:cNvPr>
          <p:cNvSpPr txBox="1">
            <a:spLocks/>
          </p:cNvSpPr>
          <p:nvPr/>
        </p:nvSpPr>
        <p:spPr>
          <a:xfrm>
            <a:off x="2952750" y="3673659"/>
            <a:ext cx="3078596" cy="2635066"/>
          </a:xfrm>
          <a:prstGeom prst="rect">
            <a:avLst/>
          </a:prstGeom>
          <a:solidFill>
            <a:schemeClr val="bg1"/>
          </a:solidFill>
          <a:ln>
            <a:solidFill>
              <a:schemeClr val="bg1">
                <a:lumMod val="85000"/>
              </a:schemeClr>
            </a:solidFill>
          </a:ln>
        </p:spPr>
        <p:txBody>
          <a:bodyPr vert="horz" lIns="54000" tIns="72000" rIns="54000" bIns="72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nSpc>
                <a:spcPct val="100000"/>
              </a:lnSpc>
            </a:pPr>
            <a:r>
              <a:rPr lang="nl-NL" sz="1200" dirty="0"/>
              <a:t>Wat maakt dit antwoord goed?</a:t>
            </a:r>
          </a:p>
          <a:p>
            <a:pPr marL="171450" indent="-171450">
              <a:lnSpc>
                <a:spcPct val="100000"/>
              </a:lnSpc>
              <a:buClr>
                <a:schemeClr val="tx2"/>
              </a:buClr>
              <a:buFont typeface="Wingdings" panose="05000000000000000000" pitchFamily="2" charset="2"/>
              <a:buChar char="ü"/>
            </a:pPr>
            <a:r>
              <a:rPr lang="nl-NL" sz="1200" b="0" dirty="0"/>
              <a:t>Er wordt uitgelegd hoe een kwantitatief onderzoek eruit zou kunnen zien</a:t>
            </a:r>
          </a:p>
          <a:p>
            <a:pPr marL="171450" indent="-171450">
              <a:lnSpc>
                <a:spcPct val="100000"/>
              </a:lnSpc>
              <a:buClr>
                <a:schemeClr val="tx2"/>
              </a:buClr>
              <a:buFont typeface="Wingdings" panose="05000000000000000000" pitchFamily="2" charset="2"/>
              <a:buChar char="ü"/>
            </a:pPr>
            <a:r>
              <a:rPr lang="nl-NL" sz="1200" b="0" dirty="0"/>
              <a:t>Daarnaast wordt aangegeven hoe een kwalitatief onderzoek dit zou kunnen ondersteunen</a:t>
            </a:r>
          </a:p>
          <a:p>
            <a:pPr marL="171450" indent="-171450">
              <a:lnSpc>
                <a:spcPct val="100000"/>
              </a:lnSpc>
              <a:buClr>
                <a:schemeClr val="tx2"/>
              </a:buClr>
              <a:buFont typeface="Wingdings" panose="05000000000000000000" pitchFamily="2" charset="2"/>
              <a:buChar char="ü"/>
            </a:pPr>
            <a:r>
              <a:rPr lang="nl-NL" sz="1200" b="0" dirty="0"/>
              <a:t>Opmerking over mogelijk negatieve effecten toont begrip van context &amp; complexiteit van de problematiek.</a:t>
            </a:r>
          </a:p>
          <a:p>
            <a:pPr marL="171450" indent="-171450">
              <a:buClr>
                <a:schemeClr val="tx2"/>
              </a:buClr>
              <a:buFont typeface="Wingdings" panose="05000000000000000000" pitchFamily="2" charset="2"/>
              <a:buChar char="§"/>
            </a:pPr>
            <a:endParaRPr lang="nl-NL" sz="1200" b="0" dirty="0"/>
          </a:p>
          <a:p>
            <a:pPr>
              <a:buClr>
                <a:schemeClr val="tx2"/>
              </a:buClr>
            </a:pPr>
            <a:endParaRPr lang="nl-NL" sz="1200" b="0" dirty="0"/>
          </a:p>
          <a:p>
            <a:pPr>
              <a:buClr>
                <a:schemeClr val="tx2"/>
              </a:buClr>
            </a:pPr>
            <a:endParaRPr lang="nl-NL" sz="1200" b="0" dirty="0"/>
          </a:p>
        </p:txBody>
      </p:sp>
      <p:pic>
        <p:nvPicPr>
          <p:cNvPr id="61442" name="Picture 2">
            <a:extLst>
              <a:ext uri="{FF2B5EF4-FFF2-40B4-BE49-F238E27FC236}">
                <a16:creationId xmlns:a16="http://schemas.microsoft.com/office/drawing/2014/main" id="{F31421FC-687C-4775-BBCA-9AC90E0C78E6}"/>
              </a:ext>
            </a:extLst>
          </p:cNvPr>
          <p:cNvPicPr>
            <a:picLocks noChangeAspect="1" noChangeArrowheads="1"/>
          </p:cNvPicPr>
          <p:nvPr/>
        </p:nvPicPr>
        <p:blipFill>
          <a:blip r:embed="rId6" cstate="hqprint">
            <a:extLst>
              <a:ext uri="{28A0092B-C50C-407E-A947-70E740481C1C}">
                <a14:useLocalDpi xmlns:a14="http://schemas.microsoft.com/office/drawing/2010/main"/>
              </a:ext>
            </a:extLst>
          </a:blip>
          <a:srcRect l="38477" r="38477"/>
          <a:stretch/>
        </p:blipFill>
        <p:spPr bwMode="auto">
          <a:xfrm>
            <a:off x="0" y="0"/>
            <a:ext cx="28098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D85439E5-6E0C-4BFB-9E2A-FA280E638BDE}"/>
              </a:ext>
            </a:extLst>
          </p:cNvPr>
          <p:cNvSpPr/>
          <p:nvPr/>
        </p:nvSpPr>
        <p:spPr>
          <a:xfrm>
            <a:off x="-5777" y="-8800"/>
            <a:ext cx="2815651" cy="6866800"/>
          </a:xfrm>
          <a:prstGeom prst="rect">
            <a:avLst/>
          </a:prstGeom>
          <a:solidFill>
            <a:schemeClr val="bg1">
              <a:lumMod val="95000"/>
              <a:alpha val="84000"/>
            </a:schemeClr>
          </a:solidFill>
          <a:ln>
            <a:noFill/>
          </a:ln>
        </p:spPr>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0" indent="0">
              <a:lnSpc>
                <a:spcPct val="100000"/>
              </a:lnSpc>
              <a:buNone/>
            </a:pPr>
            <a:r>
              <a:rPr lang="nl-NL" sz="2800" b="1" dirty="0">
                <a:solidFill>
                  <a:srgbClr val="22777B"/>
                </a:solidFill>
              </a:rPr>
              <a:t>Vraag 7</a:t>
            </a:r>
          </a:p>
          <a:p>
            <a:pPr marL="0" indent="0">
              <a:lnSpc>
                <a:spcPct val="100000"/>
              </a:lnSpc>
              <a:buNone/>
            </a:pPr>
            <a:br>
              <a:rPr lang="nl-NL" sz="1400" dirty="0"/>
            </a:br>
            <a:br>
              <a:rPr lang="nl-NL" sz="1200" dirty="0"/>
            </a:br>
            <a:r>
              <a:rPr lang="nl-NL" sz="1200" dirty="0"/>
              <a:t>Het is vaak van belang om na ingevoerd beleid te evalueren of dit nuttig was. Stel we zouden een aantal maatregelen doorvoeren om het lerarentekort tegen te gaan, waar we het in vraag 4 over hebben gehad. Op welke manier zou je het nut en de effectiviteit van dit beleid evalueren? </a:t>
            </a:r>
            <a:endParaRPr kumimoji="0" lang="nl-NL" sz="1400" i="0" u="none" strike="noStrike" kern="1200" cap="none" spc="0" normalizeH="0" baseline="0" noProof="0" dirty="0">
              <a:ln>
                <a:noFill/>
              </a:ln>
              <a:effectLst/>
              <a:uLnTx/>
              <a:uFillTx/>
              <a:latin typeface="Corbel" panose="020B0503020204020204" pitchFamily="34" charset="0"/>
              <a:ea typeface="+mn-ea"/>
              <a:cs typeface="+mn-cs"/>
            </a:endParaRPr>
          </a:p>
        </p:txBody>
      </p:sp>
      <p:grpSp>
        <p:nvGrpSpPr>
          <p:cNvPr id="21" name="Group 20">
            <a:extLst>
              <a:ext uri="{FF2B5EF4-FFF2-40B4-BE49-F238E27FC236}">
                <a16:creationId xmlns:a16="http://schemas.microsoft.com/office/drawing/2014/main" id="{C5578B65-C922-42B5-B58E-017E05320628}"/>
              </a:ext>
            </a:extLst>
          </p:cNvPr>
          <p:cNvGrpSpPr/>
          <p:nvPr/>
        </p:nvGrpSpPr>
        <p:grpSpPr>
          <a:xfrm>
            <a:off x="1444733" y="241300"/>
            <a:ext cx="504420" cy="348414"/>
            <a:chOff x="2836863" y="3201988"/>
            <a:chExt cx="2001837" cy="1382712"/>
          </a:xfrm>
          <a:solidFill>
            <a:schemeClr val="tx2"/>
          </a:solidFill>
        </p:grpSpPr>
        <p:sp>
          <p:nvSpPr>
            <p:cNvPr id="22" name="Freeform 1">
              <a:extLst>
                <a:ext uri="{FF2B5EF4-FFF2-40B4-BE49-F238E27FC236}">
                  <a16:creationId xmlns:a16="http://schemas.microsoft.com/office/drawing/2014/main" id="{3B7896AF-670D-49F2-865F-D697DA861715}"/>
                </a:ext>
              </a:extLst>
            </p:cNvPr>
            <p:cNvSpPr>
              <a:spLocks noChangeArrowheads="1"/>
            </p:cNvSpPr>
            <p:nvPr/>
          </p:nvSpPr>
          <p:spPr bwMode="auto">
            <a:xfrm>
              <a:off x="2870200" y="3246438"/>
              <a:ext cx="1450975" cy="1247775"/>
            </a:xfrm>
            <a:custGeom>
              <a:avLst/>
              <a:gdLst>
                <a:gd name="T0" fmla="*/ 3625 w 4032"/>
                <a:gd name="T1" fmla="*/ 593 h 3468"/>
                <a:gd name="T2" fmla="*/ 3625 w 4032"/>
                <a:gd name="T3" fmla="*/ 593 h 3468"/>
                <a:gd name="T4" fmla="*/ 2000 w 4032"/>
                <a:gd name="T5" fmla="*/ 0 h 3468"/>
                <a:gd name="T6" fmla="*/ 593 w 4032"/>
                <a:gd name="T7" fmla="*/ 468 h 3468"/>
                <a:gd name="T8" fmla="*/ 593 w 4032"/>
                <a:gd name="T9" fmla="*/ 468 h 3468"/>
                <a:gd name="T10" fmla="*/ 31 w 4032"/>
                <a:gd name="T11" fmla="*/ 1531 h 3468"/>
                <a:gd name="T12" fmla="*/ 593 w 4032"/>
                <a:gd name="T13" fmla="*/ 2592 h 3468"/>
                <a:gd name="T14" fmla="*/ 500 w 4032"/>
                <a:gd name="T15" fmla="*/ 3374 h 3468"/>
                <a:gd name="T16" fmla="*/ 406 w 4032"/>
                <a:gd name="T17" fmla="*/ 3467 h 3468"/>
                <a:gd name="T18" fmla="*/ 531 w 4032"/>
                <a:gd name="T19" fmla="*/ 3467 h 3468"/>
                <a:gd name="T20" fmla="*/ 1343 w 4032"/>
                <a:gd name="T21" fmla="*/ 2967 h 3468"/>
                <a:gd name="T22" fmla="*/ 2093 w 4032"/>
                <a:gd name="T23" fmla="*/ 3030 h 3468"/>
                <a:gd name="T24" fmla="*/ 3531 w 4032"/>
                <a:gd name="T25" fmla="*/ 2592 h 3468"/>
                <a:gd name="T26" fmla="*/ 4031 w 4032"/>
                <a:gd name="T27" fmla="*/ 1531 h 3468"/>
                <a:gd name="T28" fmla="*/ 3625 w 4032"/>
                <a:gd name="T29" fmla="*/ 593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2" h="3468">
                  <a:moveTo>
                    <a:pt x="3625" y="593"/>
                  </a:moveTo>
                  <a:lnTo>
                    <a:pt x="3625" y="593"/>
                  </a:lnTo>
                  <a:cubicBezTo>
                    <a:pt x="3250" y="218"/>
                    <a:pt x="2625" y="0"/>
                    <a:pt x="2000" y="0"/>
                  </a:cubicBezTo>
                  <a:cubicBezTo>
                    <a:pt x="1468" y="0"/>
                    <a:pt x="1000" y="156"/>
                    <a:pt x="593" y="468"/>
                  </a:cubicBezTo>
                  <a:lnTo>
                    <a:pt x="593" y="468"/>
                  </a:lnTo>
                  <a:cubicBezTo>
                    <a:pt x="218" y="781"/>
                    <a:pt x="0" y="1156"/>
                    <a:pt x="31" y="1531"/>
                  </a:cubicBezTo>
                  <a:cubicBezTo>
                    <a:pt x="62" y="2217"/>
                    <a:pt x="500" y="2530"/>
                    <a:pt x="593" y="2592"/>
                  </a:cubicBezTo>
                  <a:cubicBezTo>
                    <a:pt x="625" y="2717"/>
                    <a:pt x="687" y="3092"/>
                    <a:pt x="500" y="3374"/>
                  </a:cubicBezTo>
                  <a:cubicBezTo>
                    <a:pt x="406" y="3467"/>
                    <a:pt x="406" y="3467"/>
                    <a:pt x="406" y="3467"/>
                  </a:cubicBezTo>
                  <a:cubicBezTo>
                    <a:pt x="531" y="3467"/>
                    <a:pt x="531" y="3467"/>
                    <a:pt x="531" y="3467"/>
                  </a:cubicBezTo>
                  <a:cubicBezTo>
                    <a:pt x="1000" y="3436"/>
                    <a:pt x="1281" y="3092"/>
                    <a:pt x="1343" y="2967"/>
                  </a:cubicBezTo>
                  <a:cubicBezTo>
                    <a:pt x="1437" y="2999"/>
                    <a:pt x="1718" y="3061"/>
                    <a:pt x="2093" y="3030"/>
                  </a:cubicBezTo>
                  <a:cubicBezTo>
                    <a:pt x="2656" y="3030"/>
                    <a:pt x="3156" y="2874"/>
                    <a:pt x="3531" y="2592"/>
                  </a:cubicBezTo>
                  <a:cubicBezTo>
                    <a:pt x="3843" y="2280"/>
                    <a:pt x="4031" y="1905"/>
                    <a:pt x="4031" y="1531"/>
                  </a:cubicBezTo>
                  <a:cubicBezTo>
                    <a:pt x="4031" y="1218"/>
                    <a:pt x="3906" y="906"/>
                    <a:pt x="3625" y="5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3" name="Freeform 2">
              <a:extLst>
                <a:ext uri="{FF2B5EF4-FFF2-40B4-BE49-F238E27FC236}">
                  <a16:creationId xmlns:a16="http://schemas.microsoft.com/office/drawing/2014/main" id="{CAD3F577-FAD4-4169-913E-31809A4FFBDC}"/>
                </a:ext>
              </a:extLst>
            </p:cNvPr>
            <p:cNvSpPr>
              <a:spLocks noChangeArrowheads="1"/>
            </p:cNvSpPr>
            <p:nvPr/>
          </p:nvSpPr>
          <p:spPr bwMode="auto">
            <a:xfrm>
              <a:off x="3983038" y="3201988"/>
              <a:ext cx="855662" cy="1338262"/>
            </a:xfrm>
            <a:custGeom>
              <a:avLst/>
              <a:gdLst>
                <a:gd name="T0" fmla="*/ 1781 w 2376"/>
                <a:gd name="T1" fmla="*/ 2811 h 3718"/>
                <a:gd name="T2" fmla="*/ 1781 w 2376"/>
                <a:gd name="T3" fmla="*/ 2811 h 3718"/>
                <a:gd name="T4" fmla="*/ 2375 w 2376"/>
                <a:gd name="T5" fmla="*/ 1687 h 3718"/>
                <a:gd name="T6" fmla="*/ 1750 w 2376"/>
                <a:gd name="T7" fmla="*/ 500 h 3718"/>
                <a:gd name="T8" fmla="*/ 282 w 2376"/>
                <a:gd name="T9" fmla="*/ 0 h 3718"/>
                <a:gd name="T10" fmla="*/ 0 w 2376"/>
                <a:gd name="T11" fmla="*/ 31 h 3718"/>
                <a:gd name="T12" fmla="*/ 782 w 2376"/>
                <a:gd name="T13" fmla="*/ 531 h 3718"/>
                <a:gd name="T14" fmla="*/ 1250 w 2376"/>
                <a:gd name="T15" fmla="*/ 1656 h 3718"/>
                <a:gd name="T16" fmla="*/ 625 w 2376"/>
                <a:gd name="T17" fmla="*/ 2905 h 3718"/>
                <a:gd name="T18" fmla="*/ 0 w 2376"/>
                <a:gd name="T19" fmla="*/ 3280 h 3718"/>
                <a:gd name="T20" fmla="*/ 875 w 2376"/>
                <a:gd name="T21" fmla="*/ 3249 h 3718"/>
                <a:gd name="T22" fmla="*/ 1938 w 2376"/>
                <a:gd name="T23" fmla="*/ 3717 h 3718"/>
                <a:gd name="T24" fmla="*/ 2219 w 2376"/>
                <a:gd name="T25" fmla="*/ 3717 h 3718"/>
                <a:gd name="T26" fmla="*/ 2032 w 2376"/>
                <a:gd name="T27" fmla="*/ 3530 h 3718"/>
                <a:gd name="T28" fmla="*/ 1781 w 2376"/>
                <a:gd name="T29" fmla="*/ 2811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6" h="3718">
                  <a:moveTo>
                    <a:pt x="1781" y="2811"/>
                  </a:moveTo>
                  <a:lnTo>
                    <a:pt x="1781" y="2811"/>
                  </a:lnTo>
                  <a:cubicBezTo>
                    <a:pt x="2157" y="2499"/>
                    <a:pt x="2375" y="2092"/>
                    <a:pt x="2375" y="1687"/>
                  </a:cubicBezTo>
                  <a:cubicBezTo>
                    <a:pt x="2375" y="1218"/>
                    <a:pt x="2188" y="812"/>
                    <a:pt x="1750" y="500"/>
                  </a:cubicBezTo>
                  <a:cubicBezTo>
                    <a:pt x="1344" y="187"/>
                    <a:pt x="844" y="0"/>
                    <a:pt x="282" y="0"/>
                  </a:cubicBezTo>
                  <a:cubicBezTo>
                    <a:pt x="188" y="0"/>
                    <a:pt x="94" y="0"/>
                    <a:pt x="0" y="31"/>
                  </a:cubicBezTo>
                  <a:cubicBezTo>
                    <a:pt x="282" y="125"/>
                    <a:pt x="563" y="312"/>
                    <a:pt x="782" y="531"/>
                  </a:cubicBezTo>
                  <a:cubicBezTo>
                    <a:pt x="1094" y="843"/>
                    <a:pt x="1250" y="1218"/>
                    <a:pt x="1250" y="1656"/>
                  </a:cubicBezTo>
                  <a:cubicBezTo>
                    <a:pt x="1250" y="2124"/>
                    <a:pt x="1032" y="2592"/>
                    <a:pt x="625" y="2905"/>
                  </a:cubicBezTo>
                  <a:cubicBezTo>
                    <a:pt x="438" y="3061"/>
                    <a:pt x="219" y="3186"/>
                    <a:pt x="0" y="3280"/>
                  </a:cubicBezTo>
                  <a:cubicBezTo>
                    <a:pt x="282" y="3311"/>
                    <a:pt x="563" y="3280"/>
                    <a:pt x="875" y="3249"/>
                  </a:cubicBezTo>
                  <a:cubicBezTo>
                    <a:pt x="1125" y="3561"/>
                    <a:pt x="1469" y="3717"/>
                    <a:pt x="1938" y="3717"/>
                  </a:cubicBezTo>
                  <a:cubicBezTo>
                    <a:pt x="2219" y="3717"/>
                    <a:pt x="2219" y="3717"/>
                    <a:pt x="2219" y="3717"/>
                  </a:cubicBezTo>
                  <a:cubicBezTo>
                    <a:pt x="2032" y="3530"/>
                    <a:pt x="2032" y="3530"/>
                    <a:pt x="2032" y="3530"/>
                  </a:cubicBezTo>
                  <a:cubicBezTo>
                    <a:pt x="1813" y="3311"/>
                    <a:pt x="1750" y="3092"/>
                    <a:pt x="1781" y="28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4" name="Freeform 3">
              <a:extLst>
                <a:ext uri="{FF2B5EF4-FFF2-40B4-BE49-F238E27FC236}">
                  <a16:creationId xmlns:a16="http://schemas.microsoft.com/office/drawing/2014/main" id="{8EDCAE06-9FA2-4B47-B181-6930B4A19E56}"/>
                </a:ext>
              </a:extLst>
            </p:cNvPr>
            <p:cNvSpPr>
              <a:spLocks noChangeArrowheads="1"/>
            </p:cNvSpPr>
            <p:nvPr/>
          </p:nvSpPr>
          <p:spPr bwMode="auto">
            <a:xfrm>
              <a:off x="2836863" y="3201988"/>
              <a:ext cx="1530350" cy="1382712"/>
            </a:xfrm>
            <a:custGeom>
              <a:avLst/>
              <a:gdLst>
                <a:gd name="T0" fmla="*/ 219 w 4251"/>
                <a:gd name="T1" fmla="*/ 3717 h 3843"/>
                <a:gd name="T2" fmla="*/ 219 w 4251"/>
                <a:gd name="T3" fmla="*/ 3717 h 3843"/>
                <a:gd name="T4" fmla="*/ 594 w 4251"/>
                <a:gd name="T5" fmla="*/ 2811 h 3843"/>
                <a:gd name="T6" fmla="*/ 0 w 4251"/>
                <a:gd name="T7" fmla="*/ 1656 h 3843"/>
                <a:gd name="T8" fmla="*/ 625 w 4251"/>
                <a:gd name="T9" fmla="*/ 500 h 3843"/>
                <a:gd name="T10" fmla="*/ 2094 w 4251"/>
                <a:gd name="T11" fmla="*/ 0 h 3843"/>
                <a:gd name="T12" fmla="*/ 2094 w 4251"/>
                <a:gd name="T13" fmla="*/ 0 h 3843"/>
                <a:gd name="T14" fmla="*/ 3781 w 4251"/>
                <a:gd name="T15" fmla="*/ 625 h 3843"/>
                <a:gd name="T16" fmla="*/ 4250 w 4251"/>
                <a:gd name="T17" fmla="*/ 1656 h 3843"/>
                <a:gd name="T18" fmla="*/ 3656 w 4251"/>
                <a:gd name="T19" fmla="*/ 2780 h 3843"/>
                <a:gd name="T20" fmla="*/ 1469 w 4251"/>
                <a:gd name="T21" fmla="*/ 3217 h 3843"/>
                <a:gd name="T22" fmla="*/ 219 w 4251"/>
                <a:gd name="T23" fmla="*/ 3717 h 3843"/>
                <a:gd name="T24" fmla="*/ 719 w 4251"/>
                <a:gd name="T25" fmla="*/ 625 h 3843"/>
                <a:gd name="T26" fmla="*/ 719 w 4251"/>
                <a:gd name="T27" fmla="*/ 625 h 3843"/>
                <a:gd name="T28" fmla="*/ 187 w 4251"/>
                <a:gd name="T29" fmla="*/ 1656 h 3843"/>
                <a:gd name="T30" fmla="*/ 750 w 4251"/>
                <a:gd name="T31" fmla="*/ 2686 h 3843"/>
                <a:gd name="T32" fmla="*/ 625 w 4251"/>
                <a:gd name="T33" fmla="*/ 3530 h 3843"/>
                <a:gd name="T34" fmla="*/ 1406 w 4251"/>
                <a:gd name="T35" fmla="*/ 3030 h 3843"/>
                <a:gd name="T36" fmla="*/ 3562 w 4251"/>
                <a:gd name="T37" fmla="*/ 2655 h 3843"/>
                <a:gd name="T38" fmla="*/ 4062 w 4251"/>
                <a:gd name="T39" fmla="*/ 1656 h 3843"/>
                <a:gd name="T40" fmla="*/ 3656 w 4251"/>
                <a:gd name="T41" fmla="*/ 750 h 3843"/>
                <a:gd name="T42" fmla="*/ 2094 w 4251"/>
                <a:gd name="T43" fmla="*/ 187 h 3843"/>
                <a:gd name="T44" fmla="*/ 719 w 4251"/>
                <a:gd name="T45" fmla="*/ 625 h 3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51" h="3843">
                  <a:moveTo>
                    <a:pt x="219" y="3717"/>
                  </a:moveTo>
                  <a:lnTo>
                    <a:pt x="219" y="3717"/>
                  </a:lnTo>
                  <a:cubicBezTo>
                    <a:pt x="219" y="3717"/>
                    <a:pt x="656" y="3342"/>
                    <a:pt x="594" y="2811"/>
                  </a:cubicBezTo>
                  <a:cubicBezTo>
                    <a:pt x="219" y="2499"/>
                    <a:pt x="0" y="2092"/>
                    <a:pt x="0" y="1656"/>
                  </a:cubicBezTo>
                  <a:cubicBezTo>
                    <a:pt x="0" y="1218"/>
                    <a:pt x="219" y="812"/>
                    <a:pt x="625" y="500"/>
                  </a:cubicBezTo>
                  <a:cubicBezTo>
                    <a:pt x="1031" y="187"/>
                    <a:pt x="1531" y="0"/>
                    <a:pt x="2094" y="0"/>
                  </a:cubicBezTo>
                  <a:lnTo>
                    <a:pt x="2094" y="0"/>
                  </a:lnTo>
                  <a:cubicBezTo>
                    <a:pt x="2781" y="0"/>
                    <a:pt x="3375" y="218"/>
                    <a:pt x="3781" y="625"/>
                  </a:cubicBezTo>
                  <a:cubicBezTo>
                    <a:pt x="4094" y="937"/>
                    <a:pt x="4250" y="1281"/>
                    <a:pt x="4250" y="1656"/>
                  </a:cubicBezTo>
                  <a:cubicBezTo>
                    <a:pt x="4250" y="2092"/>
                    <a:pt x="4031" y="2499"/>
                    <a:pt x="3656" y="2780"/>
                  </a:cubicBezTo>
                  <a:cubicBezTo>
                    <a:pt x="3125" y="3217"/>
                    <a:pt x="2344" y="3374"/>
                    <a:pt x="1469" y="3217"/>
                  </a:cubicBezTo>
                  <a:cubicBezTo>
                    <a:pt x="1125" y="3842"/>
                    <a:pt x="219" y="3717"/>
                    <a:pt x="219" y="3717"/>
                  </a:cubicBezTo>
                  <a:close/>
                  <a:moveTo>
                    <a:pt x="719" y="625"/>
                  </a:moveTo>
                  <a:lnTo>
                    <a:pt x="719" y="625"/>
                  </a:lnTo>
                  <a:cubicBezTo>
                    <a:pt x="375" y="906"/>
                    <a:pt x="156" y="1281"/>
                    <a:pt x="187" y="1656"/>
                  </a:cubicBezTo>
                  <a:cubicBezTo>
                    <a:pt x="219" y="2374"/>
                    <a:pt x="750" y="2686"/>
                    <a:pt x="750" y="2686"/>
                  </a:cubicBezTo>
                  <a:cubicBezTo>
                    <a:pt x="750" y="2686"/>
                    <a:pt x="875" y="3186"/>
                    <a:pt x="625" y="3530"/>
                  </a:cubicBezTo>
                  <a:cubicBezTo>
                    <a:pt x="1125" y="3499"/>
                    <a:pt x="1406" y="3030"/>
                    <a:pt x="1406" y="3030"/>
                  </a:cubicBezTo>
                  <a:cubicBezTo>
                    <a:pt x="1406" y="3030"/>
                    <a:pt x="2719" y="3342"/>
                    <a:pt x="3562" y="2655"/>
                  </a:cubicBezTo>
                  <a:cubicBezTo>
                    <a:pt x="3875" y="2374"/>
                    <a:pt x="4062" y="2030"/>
                    <a:pt x="4062" y="1656"/>
                  </a:cubicBezTo>
                  <a:cubicBezTo>
                    <a:pt x="4062" y="1312"/>
                    <a:pt x="3906" y="1031"/>
                    <a:pt x="3656" y="750"/>
                  </a:cubicBezTo>
                  <a:cubicBezTo>
                    <a:pt x="3281" y="375"/>
                    <a:pt x="2656" y="187"/>
                    <a:pt x="2094" y="187"/>
                  </a:cubicBezTo>
                  <a:cubicBezTo>
                    <a:pt x="1562" y="187"/>
                    <a:pt x="1094" y="343"/>
                    <a:pt x="719" y="62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32" name="Oval 31">
            <a:extLst>
              <a:ext uri="{FF2B5EF4-FFF2-40B4-BE49-F238E27FC236}">
                <a16:creationId xmlns:a16="http://schemas.microsoft.com/office/drawing/2014/main" id="{66E00365-5181-4337-A170-F27293A50400}"/>
              </a:ext>
            </a:extLst>
          </p:cNvPr>
          <p:cNvSpPr/>
          <p:nvPr/>
        </p:nvSpPr>
        <p:spPr>
          <a:xfrm>
            <a:off x="11197841" y="36609"/>
            <a:ext cx="148708" cy="148708"/>
          </a:xfrm>
          <a:prstGeom prst="ellipse">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95C5C9"/>
              </a:solidFill>
              <a:effectLst/>
              <a:uLnTx/>
              <a:uFillTx/>
              <a:latin typeface="Corbel" panose="020B0503020204020204" pitchFamily="34" charset="0"/>
              <a:ea typeface="+mn-ea"/>
              <a:cs typeface="+mn-cs"/>
            </a:endParaRPr>
          </a:p>
        </p:txBody>
      </p:sp>
      <p:sp>
        <p:nvSpPr>
          <p:cNvPr id="33" name="TextBox 32">
            <a:extLst>
              <a:ext uri="{FF2B5EF4-FFF2-40B4-BE49-F238E27FC236}">
                <a16:creationId xmlns:a16="http://schemas.microsoft.com/office/drawing/2014/main" id="{FD13C5F9-F0DB-46A9-B4A0-B9B14B71BC6F}"/>
              </a:ext>
            </a:extLst>
          </p:cNvPr>
          <p:cNvSpPr txBox="1"/>
          <p:nvPr/>
        </p:nvSpPr>
        <p:spPr>
          <a:xfrm>
            <a:off x="10067055"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1</a:t>
            </a:r>
            <a:endParaRPr lang="nl-NL" noProof="0" dirty="0">
              <a:solidFill>
                <a:srgbClr val="95C5C9"/>
              </a:solidFill>
            </a:endParaRPr>
          </a:p>
        </p:txBody>
      </p:sp>
      <p:sp>
        <p:nvSpPr>
          <p:cNvPr id="34" name="TextBox 33">
            <a:extLst>
              <a:ext uri="{FF2B5EF4-FFF2-40B4-BE49-F238E27FC236}">
                <a16:creationId xmlns:a16="http://schemas.microsoft.com/office/drawing/2014/main" id="{10DCD6AC-A56B-4C2D-B31C-59D64707E231}"/>
              </a:ext>
            </a:extLst>
          </p:cNvPr>
          <p:cNvSpPr txBox="1"/>
          <p:nvPr/>
        </p:nvSpPr>
        <p:spPr>
          <a:xfrm>
            <a:off x="10256482"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2</a:t>
            </a:r>
          </a:p>
        </p:txBody>
      </p:sp>
      <p:sp>
        <p:nvSpPr>
          <p:cNvPr id="35" name="TextBox 34">
            <a:extLst>
              <a:ext uri="{FF2B5EF4-FFF2-40B4-BE49-F238E27FC236}">
                <a16:creationId xmlns:a16="http://schemas.microsoft.com/office/drawing/2014/main" id="{030D7A5F-0165-4FFE-9BDB-474B2C27136A}"/>
              </a:ext>
            </a:extLst>
          </p:cNvPr>
          <p:cNvSpPr txBox="1"/>
          <p:nvPr/>
        </p:nvSpPr>
        <p:spPr>
          <a:xfrm>
            <a:off x="10445909"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3</a:t>
            </a:r>
          </a:p>
        </p:txBody>
      </p:sp>
      <p:sp>
        <p:nvSpPr>
          <p:cNvPr id="36" name="TextBox 35">
            <a:extLst>
              <a:ext uri="{FF2B5EF4-FFF2-40B4-BE49-F238E27FC236}">
                <a16:creationId xmlns:a16="http://schemas.microsoft.com/office/drawing/2014/main" id="{30814CD7-F070-43E4-A08D-69ED16BF186F}"/>
              </a:ext>
            </a:extLst>
          </p:cNvPr>
          <p:cNvSpPr txBox="1"/>
          <p:nvPr/>
        </p:nvSpPr>
        <p:spPr>
          <a:xfrm>
            <a:off x="10635336"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4</a:t>
            </a:r>
            <a:endParaRPr lang="nl-NL" noProof="0" dirty="0">
              <a:solidFill>
                <a:srgbClr val="95C5C9"/>
              </a:solidFill>
            </a:endParaRPr>
          </a:p>
        </p:txBody>
      </p:sp>
      <p:sp>
        <p:nvSpPr>
          <p:cNvPr id="37" name="TextBox 36">
            <a:extLst>
              <a:ext uri="{FF2B5EF4-FFF2-40B4-BE49-F238E27FC236}">
                <a16:creationId xmlns:a16="http://schemas.microsoft.com/office/drawing/2014/main" id="{B8CAFD89-E18C-4101-B3C1-5D2D9B091C45}"/>
              </a:ext>
            </a:extLst>
          </p:cNvPr>
          <p:cNvSpPr txBox="1"/>
          <p:nvPr/>
        </p:nvSpPr>
        <p:spPr>
          <a:xfrm>
            <a:off x="10824763" y="40328"/>
            <a:ext cx="137154" cy="141270"/>
          </a:xfrm>
          <a:prstGeom prst="rect">
            <a:avLst/>
          </a:prstGeom>
        </p:spPr>
        <p:txBody>
          <a:bodyPr vert="horz" wrap="square" lIns="0" tIns="0" rIns="0" bIns="0" rtlCol="0" anchor="ctr">
            <a:noAutofit/>
          </a:bodyPr>
          <a:lstStyle/>
          <a:p>
            <a:pPr marL="0" indent="0" algn="ctr">
              <a:buNone/>
            </a:pPr>
            <a:r>
              <a:rPr lang="nl-NL" sz="1000" dirty="0">
                <a:solidFill>
                  <a:srgbClr val="95C5C9"/>
                </a:solidFill>
              </a:rPr>
              <a:t>5</a:t>
            </a:r>
            <a:endParaRPr lang="nl-NL" sz="1000" noProof="0" dirty="0">
              <a:solidFill>
                <a:srgbClr val="95C5C9"/>
              </a:solidFill>
            </a:endParaRPr>
          </a:p>
        </p:txBody>
      </p:sp>
      <p:sp>
        <p:nvSpPr>
          <p:cNvPr id="38" name="TextBox 37">
            <a:extLst>
              <a:ext uri="{FF2B5EF4-FFF2-40B4-BE49-F238E27FC236}">
                <a16:creationId xmlns:a16="http://schemas.microsoft.com/office/drawing/2014/main" id="{0B912FE3-4827-4AC3-B367-77DC8FA4D752}"/>
              </a:ext>
            </a:extLst>
          </p:cNvPr>
          <p:cNvSpPr txBox="1"/>
          <p:nvPr/>
        </p:nvSpPr>
        <p:spPr>
          <a:xfrm>
            <a:off x="11014190" y="40328"/>
            <a:ext cx="137154" cy="141270"/>
          </a:xfrm>
          <a:prstGeom prst="rect">
            <a:avLst/>
          </a:prstGeom>
        </p:spPr>
        <p:txBody>
          <a:bodyPr vert="horz" wrap="square" lIns="0" tIns="0" rIns="0" bIns="0" rtlCol="0" anchor="ctr">
            <a:noAutofit/>
          </a:bodyPr>
          <a:lstStyle/>
          <a:p>
            <a:pPr marL="0" indent="0" algn="ctr">
              <a:buNone/>
            </a:pPr>
            <a:r>
              <a:rPr lang="nl-NL" sz="1000" noProof="0" dirty="0">
                <a:solidFill>
                  <a:srgbClr val="95C5C9"/>
                </a:solidFill>
              </a:rPr>
              <a:t>6</a:t>
            </a:r>
          </a:p>
        </p:txBody>
      </p:sp>
      <p:sp>
        <p:nvSpPr>
          <p:cNvPr id="39" name="TextBox 38">
            <a:extLst>
              <a:ext uri="{FF2B5EF4-FFF2-40B4-BE49-F238E27FC236}">
                <a16:creationId xmlns:a16="http://schemas.microsoft.com/office/drawing/2014/main" id="{68F643C4-18EF-4347-BAE4-E3C8B74628FF}"/>
              </a:ext>
            </a:extLst>
          </p:cNvPr>
          <p:cNvSpPr txBox="1"/>
          <p:nvPr/>
        </p:nvSpPr>
        <p:spPr>
          <a:xfrm>
            <a:off x="11203617" y="40328"/>
            <a:ext cx="137154" cy="141270"/>
          </a:xfrm>
          <a:prstGeom prst="rect">
            <a:avLst/>
          </a:prstGeom>
        </p:spPr>
        <p:txBody>
          <a:bodyPr vert="horz" wrap="square" lIns="0" tIns="0" rIns="0" bIns="0" rtlCol="0" anchor="ctr">
            <a:noAutofit/>
          </a:bodyPr>
          <a:lstStyle/>
          <a:p>
            <a:pPr marL="0" indent="0" algn="ctr">
              <a:buNone/>
            </a:pPr>
            <a:r>
              <a:rPr lang="nl-NL" sz="1000" b="1" dirty="0">
                <a:solidFill>
                  <a:srgbClr val="95C5C9"/>
                </a:solidFill>
              </a:rPr>
              <a:t>7</a:t>
            </a:r>
            <a:endParaRPr lang="nl-NL" sz="1000" b="1" noProof="0" dirty="0">
              <a:solidFill>
                <a:srgbClr val="95C5C9"/>
              </a:solidFill>
            </a:endParaRPr>
          </a:p>
        </p:txBody>
      </p:sp>
    </p:spTree>
    <p:extLst>
      <p:ext uri="{BB962C8B-B14F-4D97-AF65-F5344CB8AC3E}">
        <p14:creationId xmlns:p14="http://schemas.microsoft.com/office/powerpoint/2010/main" val="29611463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3C2EF3F-7E04-4D17-BEFC-FA9C11CD89BA}"/>
              </a:ext>
            </a:extLst>
          </p:cNvPr>
          <p:cNvSpPr>
            <a:spLocks noGrp="1"/>
          </p:cNvSpPr>
          <p:nvPr>
            <p:ph type="body" sz="quarter" idx="20"/>
          </p:nvPr>
        </p:nvSpPr>
        <p:spPr/>
        <p:txBody>
          <a:bodyPr/>
          <a:lstStyle/>
          <a:p>
            <a:endParaRPr lang="nl-NL"/>
          </a:p>
        </p:txBody>
      </p:sp>
      <p:sp>
        <p:nvSpPr>
          <p:cNvPr id="5" name="Slide Number Placeholder 4">
            <a:extLst>
              <a:ext uri="{FF2B5EF4-FFF2-40B4-BE49-F238E27FC236}">
                <a16:creationId xmlns:a16="http://schemas.microsoft.com/office/drawing/2014/main" id="{B4AB542D-223B-4CB8-92F8-F12E0D9FFB76}"/>
              </a:ext>
            </a:extLst>
          </p:cNvPr>
          <p:cNvSpPr>
            <a:spLocks noGrp="1"/>
          </p:cNvSpPr>
          <p:nvPr>
            <p:ph type="sldNum" sz="quarter" idx="12"/>
          </p:nvPr>
        </p:nvSpPr>
        <p:spPr/>
        <p:txBody>
          <a:bodyPr/>
          <a:lstStyle/>
          <a:p>
            <a:fld id="{992CD0B2-8AB2-4C6C-8876-E15753662C9B}" type="slidenum">
              <a:rPr lang="nl-NL" noProof="0" smtClean="0"/>
              <a:pPr/>
              <a:t>28</a:t>
            </a:fld>
            <a:endParaRPr lang="nl-NL" noProof="0"/>
          </a:p>
        </p:txBody>
      </p:sp>
      <p:sp>
        <p:nvSpPr>
          <p:cNvPr id="6" name="Text Placeholder 5">
            <a:extLst>
              <a:ext uri="{FF2B5EF4-FFF2-40B4-BE49-F238E27FC236}">
                <a16:creationId xmlns:a16="http://schemas.microsoft.com/office/drawing/2014/main" id="{7DB414A1-E785-479D-8A22-A9E6E587096F}"/>
              </a:ext>
            </a:extLst>
          </p:cNvPr>
          <p:cNvSpPr>
            <a:spLocks noGrp="1"/>
          </p:cNvSpPr>
          <p:nvPr>
            <p:ph type="body" sz="quarter" idx="14"/>
          </p:nvPr>
        </p:nvSpPr>
        <p:spPr/>
        <p:txBody>
          <a:bodyPr/>
          <a:lstStyle/>
          <a:p>
            <a:endParaRPr lang="nl-NL"/>
          </a:p>
        </p:txBody>
      </p:sp>
      <p:sp>
        <p:nvSpPr>
          <p:cNvPr id="7" name="Title 6">
            <a:extLst>
              <a:ext uri="{FF2B5EF4-FFF2-40B4-BE49-F238E27FC236}">
                <a16:creationId xmlns:a16="http://schemas.microsoft.com/office/drawing/2014/main" id="{C9A896F8-BBA7-4198-89F8-2BB7E5E68130}"/>
              </a:ext>
            </a:extLst>
          </p:cNvPr>
          <p:cNvSpPr>
            <a:spLocks noGrp="1"/>
          </p:cNvSpPr>
          <p:nvPr>
            <p:ph type="title"/>
          </p:nvPr>
        </p:nvSpPr>
        <p:spPr/>
        <p:txBody>
          <a:bodyPr/>
          <a:lstStyle/>
          <a:p>
            <a:endParaRPr lang="nl-NL"/>
          </a:p>
        </p:txBody>
      </p:sp>
      <p:sp>
        <p:nvSpPr>
          <p:cNvPr id="15" name="Rectangle 14">
            <a:extLst>
              <a:ext uri="{FF2B5EF4-FFF2-40B4-BE49-F238E27FC236}">
                <a16:creationId xmlns:a16="http://schemas.microsoft.com/office/drawing/2014/main" id="{163EC48A-E281-4286-8D70-6DAECCF58953}"/>
              </a:ext>
            </a:extLst>
          </p:cNvPr>
          <p:cNvSpPr/>
          <p:nvPr/>
        </p:nvSpPr>
        <p:spPr>
          <a:xfrm>
            <a:off x="1043709" y="1739078"/>
            <a:ext cx="10107570" cy="1898514"/>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3600" b="1" dirty="0">
                <a:solidFill>
                  <a:srgbClr val="22777B"/>
                </a:solidFill>
              </a:rPr>
              <a:t>Namens de wethouder, leraren en leerlingen willen we je hartelijk bedanken voor je inzet, analyse en waardevolle oplossingsrichtingen!</a:t>
            </a:r>
          </a:p>
        </p:txBody>
      </p:sp>
      <p:pic>
        <p:nvPicPr>
          <p:cNvPr id="20" name="Content Placeholder 9" descr="Professor male with solid fill">
            <a:extLst>
              <a:ext uri="{FF2B5EF4-FFF2-40B4-BE49-F238E27FC236}">
                <a16:creationId xmlns:a16="http://schemas.microsoft.com/office/drawing/2014/main" id="{F4B4A20E-79F2-455F-8509-0F06BC1E8335}"/>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638800" y="4698235"/>
            <a:ext cx="914400" cy="914400"/>
          </a:xfrm>
          <a:prstGeom prst="rect">
            <a:avLst/>
          </a:prstGeom>
          <a:noFill/>
          <a:ln w="19050">
            <a:noFill/>
          </a:ln>
        </p:spPr>
      </p:pic>
      <p:pic>
        <p:nvPicPr>
          <p:cNvPr id="21" name="Graphic 20" descr="Classroom with solid fill">
            <a:extLst>
              <a:ext uri="{FF2B5EF4-FFF2-40B4-BE49-F238E27FC236}">
                <a16:creationId xmlns:a16="http://schemas.microsoft.com/office/drawing/2014/main" id="{FD9C406B-89D4-4FD8-BABB-38C01E1F88C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867650" y="4698235"/>
            <a:ext cx="914400" cy="914400"/>
          </a:xfrm>
          <a:prstGeom prst="rect">
            <a:avLst/>
          </a:prstGeom>
        </p:spPr>
      </p:pic>
      <p:pic>
        <p:nvPicPr>
          <p:cNvPr id="24" name="Graphic 23" descr="Female Profile with solid fill">
            <a:extLst>
              <a:ext uri="{FF2B5EF4-FFF2-40B4-BE49-F238E27FC236}">
                <a16:creationId xmlns:a16="http://schemas.microsoft.com/office/drawing/2014/main" id="{6D7815BF-AF66-433E-83F0-88689508834F}"/>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409950" y="4698235"/>
            <a:ext cx="914400" cy="914400"/>
          </a:xfrm>
          <a:prstGeom prst="rect">
            <a:avLst/>
          </a:prstGeom>
        </p:spPr>
      </p:pic>
      <p:cxnSp>
        <p:nvCxnSpPr>
          <p:cNvPr id="26" name="Straight Connector 25">
            <a:extLst>
              <a:ext uri="{FF2B5EF4-FFF2-40B4-BE49-F238E27FC236}">
                <a16:creationId xmlns:a16="http://schemas.microsoft.com/office/drawing/2014/main" id="{63403911-15E5-46B7-824A-EECC7A4FFDD9}"/>
              </a:ext>
            </a:extLst>
          </p:cNvPr>
          <p:cNvCxnSpPr>
            <a:cxnSpLocks/>
          </p:cNvCxnSpPr>
          <p:nvPr/>
        </p:nvCxnSpPr>
        <p:spPr>
          <a:xfrm>
            <a:off x="1428750" y="4086225"/>
            <a:ext cx="9560694"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26186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0FA35D0-31D3-4644-A12C-D226371D742F}"/>
              </a:ext>
            </a:extLst>
          </p:cNvPr>
          <p:cNvGraphicFramePr>
            <a:graphicFrameLocks noChangeAspect="1"/>
          </p:cNvGraphicFramePr>
          <p:nvPr>
            <p:custDataLst>
              <p:tags r:id="rId2"/>
            </p:custDataLst>
            <p:extLst>
              <p:ext uri="{D42A27DB-BD31-4B8C-83A1-F6EECF244321}">
                <p14:modId xmlns:p14="http://schemas.microsoft.com/office/powerpoint/2010/main" val="145785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02" name="think-cell Slide" r:id="rId4" imgW="425" imgH="426" progId="TCLayout.ActiveDocument.1">
                  <p:embed/>
                </p:oleObj>
              </mc:Choice>
              <mc:Fallback>
                <p:oleObj name="think-cell Slide" r:id="rId4" imgW="425" imgH="426" progId="TCLayout.ActiveDocument.1">
                  <p:embed/>
                  <p:pic>
                    <p:nvPicPr>
                      <p:cNvPr id="9" name="Object 8" hidden="1">
                        <a:extLst>
                          <a:ext uri="{FF2B5EF4-FFF2-40B4-BE49-F238E27FC236}">
                            <a16:creationId xmlns:a16="http://schemas.microsoft.com/office/drawing/2014/main" id="{E0FA35D0-31D3-4644-A12C-D226371D74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9DD89A1F-0EAF-48E4-920B-02EDFCC9E164}"/>
              </a:ext>
            </a:extLst>
          </p:cNvPr>
          <p:cNvSpPr>
            <a:spLocks noGrp="1"/>
          </p:cNvSpPr>
          <p:nvPr>
            <p:ph type="body" sz="quarter" idx="20"/>
          </p:nvPr>
        </p:nvSpPr>
        <p:spPr/>
        <p:txBody>
          <a:bodyPr/>
          <a:lstStyle/>
          <a:p>
            <a:endParaRPr lang="nl-NL"/>
          </a:p>
        </p:txBody>
      </p:sp>
      <p:sp>
        <p:nvSpPr>
          <p:cNvPr id="5" name="Slide Number Placeholder 4">
            <a:extLst>
              <a:ext uri="{FF2B5EF4-FFF2-40B4-BE49-F238E27FC236}">
                <a16:creationId xmlns:a16="http://schemas.microsoft.com/office/drawing/2014/main" id="{56E752CC-C427-409A-BAB3-C466DDD8F7C7}"/>
              </a:ext>
            </a:extLst>
          </p:cNvPr>
          <p:cNvSpPr>
            <a:spLocks noGrp="1"/>
          </p:cNvSpPr>
          <p:nvPr>
            <p:ph type="sldNum" sz="quarter" idx="12"/>
          </p:nvPr>
        </p:nvSpPr>
        <p:spPr/>
        <p:txBody>
          <a:bodyPr/>
          <a:lstStyle/>
          <a:p>
            <a:fld id="{992CD0B2-8AB2-4C6C-8876-E15753662C9B}" type="slidenum">
              <a:rPr lang="nl-NL" noProof="0" smtClean="0"/>
              <a:pPr/>
              <a:t>29</a:t>
            </a:fld>
            <a:endParaRPr lang="nl-NL" noProof="0"/>
          </a:p>
        </p:txBody>
      </p:sp>
      <p:sp>
        <p:nvSpPr>
          <p:cNvPr id="6" name="Text Placeholder 5">
            <a:extLst>
              <a:ext uri="{FF2B5EF4-FFF2-40B4-BE49-F238E27FC236}">
                <a16:creationId xmlns:a16="http://schemas.microsoft.com/office/drawing/2014/main" id="{3E4FB8A0-FE74-4E8C-8F8B-45F23686479C}"/>
              </a:ext>
            </a:extLst>
          </p:cNvPr>
          <p:cNvSpPr>
            <a:spLocks noGrp="1"/>
          </p:cNvSpPr>
          <p:nvPr>
            <p:ph type="body" sz="quarter" idx="14"/>
          </p:nvPr>
        </p:nvSpPr>
        <p:spPr/>
        <p:txBody>
          <a:bodyPr/>
          <a:lstStyle/>
          <a:p>
            <a:r>
              <a:rPr lang="nl-NL" dirty="0"/>
              <a:t>Overzicht van mogelijke taken die horen bij een project van It’s Public</a:t>
            </a:r>
          </a:p>
        </p:txBody>
      </p:sp>
      <p:sp>
        <p:nvSpPr>
          <p:cNvPr id="7" name="Title 6">
            <a:extLst>
              <a:ext uri="{FF2B5EF4-FFF2-40B4-BE49-F238E27FC236}">
                <a16:creationId xmlns:a16="http://schemas.microsoft.com/office/drawing/2014/main" id="{63035D8D-BCCC-4E3E-A2D5-367F6B7A4124}"/>
              </a:ext>
            </a:extLst>
          </p:cNvPr>
          <p:cNvSpPr>
            <a:spLocks noGrp="1"/>
          </p:cNvSpPr>
          <p:nvPr>
            <p:ph type="title"/>
          </p:nvPr>
        </p:nvSpPr>
        <p:spPr/>
        <p:txBody>
          <a:bodyPr vert="horz"/>
          <a:lstStyle/>
          <a:p>
            <a:r>
              <a:rPr lang="nl-NL" dirty="0"/>
              <a:t>Tot slot: vond je dit leuk? Dan zit je goed bij It’s Public!</a:t>
            </a:r>
          </a:p>
        </p:txBody>
      </p:sp>
      <p:sp>
        <p:nvSpPr>
          <p:cNvPr id="10" name="TextBox 9">
            <a:extLst>
              <a:ext uri="{FF2B5EF4-FFF2-40B4-BE49-F238E27FC236}">
                <a16:creationId xmlns:a16="http://schemas.microsoft.com/office/drawing/2014/main" id="{45D6BB9A-5838-466D-9D6E-01D90552306D}"/>
              </a:ext>
            </a:extLst>
          </p:cNvPr>
          <p:cNvSpPr txBox="1"/>
          <p:nvPr/>
        </p:nvSpPr>
        <p:spPr>
          <a:xfrm>
            <a:off x="6234544" y="3936947"/>
            <a:ext cx="5437188" cy="708891"/>
          </a:xfrm>
          <a:prstGeom prst="rect">
            <a:avLst/>
          </a:prstGeom>
        </p:spPr>
        <p:txBody>
          <a:bodyPr vert="horz" wrap="square" lIns="91440" tIns="45720" rIns="91440" bIns="45720" rtlCol="0" anchor="ctr">
            <a:noAutofit/>
          </a:bodyPr>
          <a:lstStyle/>
          <a:p>
            <a:pPr marL="0" indent="0" algn="ctr">
              <a:buNone/>
            </a:pPr>
            <a:r>
              <a:rPr lang="nl-NL" sz="2400" b="1" noProof="0" dirty="0">
                <a:solidFill>
                  <a:srgbClr val="22777B"/>
                </a:solidFill>
              </a:rPr>
              <a:t>Analyseren en Presenteren</a:t>
            </a:r>
            <a:endParaRPr lang="nl-NL" sz="1100" b="1" noProof="0" dirty="0">
              <a:solidFill>
                <a:srgbClr val="22777B"/>
              </a:solidFill>
            </a:endParaRPr>
          </a:p>
        </p:txBody>
      </p:sp>
      <p:sp>
        <p:nvSpPr>
          <p:cNvPr id="12" name="TextBox 11">
            <a:extLst>
              <a:ext uri="{FF2B5EF4-FFF2-40B4-BE49-F238E27FC236}">
                <a16:creationId xmlns:a16="http://schemas.microsoft.com/office/drawing/2014/main" id="{402D0241-BB31-4129-AADC-1FD2FC65E103}"/>
              </a:ext>
            </a:extLst>
          </p:cNvPr>
          <p:cNvSpPr txBox="1"/>
          <p:nvPr/>
        </p:nvSpPr>
        <p:spPr>
          <a:xfrm>
            <a:off x="948588" y="3914074"/>
            <a:ext cx="4866642" cy="708891"/>
          </a:xfrm>
          <a:prstGeom prst="rect">
            <a:avLst/>
          </a:prstGeom>
        </p:spPr>
        <p:txBody>
          <a:bodyPr vert="horz" wrap="square" lIns="91440" tIns="45720" rIns="91440" bIns="45720" rtlCol="0" anchor="ctr">
            <a:noAutofit/>
          </a:bodyPr>
          <a:lstStyle/>
          <a:p>
            <a:pPr marL="0" indent="0" algn="ctr">
              <a:buNone/>
            </a:pPr>
            <a:r>
              <a:rPr lang="nl-NL" sz="2400" b="1" noProof="0" dirty="0">
                <a:solidFill>
                  <a:srgbClr val="22777B"/>
                </a:solidFill>
              </a:rPr>
              <a:t>Rekenen</a:t>
            </a:r>
            <a:endParaRPr lang="nl-NL" sz="1100" b="1" noProof="0" dirty="0">
              <a:solidFill>
                <a:srgbClr val="22777B"/>
              </a:solidFill>
            </a:endParaRPr>
          </a:p>
        </p:txBody>
      </p:sp>
      <p:sp>
        <p:nvSpPr>
          <p:cNvPr id="13" name="TextBox 12">
            <a:extLst>
              <a:ext uri="{FF2B5EF4-FFF2-40B4-BE49-F238E27FC236}">
                <a16:creationId xmlns:a16="http://schemas.microsoft.com/office/drawing/2014/main" id="{16CB1FF2-5E82-47FA-ADF4-D212D2F7078D}"/>
              </a:ext>
            </a:extLst>
          </p:cNvPr>
          <p:cNvSpPr txBox="1"/>
          <p:nvPr/>
        </p:nvSpPr>
        <p:spPr>
          <a:xfrm>
            <a:off x="661800" y="1725368"/>
            <a:ext cx="5440218" cy="708891"/>
          </a:xfrm>
          <a:prstGeom prst="rect">
            <a:avLst/>
          </a:prstGeom>
        </p:spPr>
        <p:txBody>
          <a:bodyPr vert="horz" wrap="square" lIns="91440" tIns="45720" rIns="91440" bIns="45720" rtlCol="0" anchor="ctr">
            <a:noAutofit/>
          </a:bodyPr>
          <a:lstStyle/>
          <a:p>
            <a:pPr marL="0" indent="0" algn="ctr">
              <a:buNone/>
            </a:pPr>
            <a:r>
              <a:rPr lang="nl-NL" sz="2400" b="1" noProof="0" dirty="0">
                <a:solidFill>
                  <a:srgbClr val="22777B"/>
                </a:solidFill>
              </a:rPr>
              <a:t>In gesprek met de klant</a:t>
            </a:r>
            <a:endParaRPr lang="nl-NL" sz="1100" b="1" noProof="0" dirty="0">
              <a:solidFill>
                <a:srgbClr val="22777B"/>
              </a:solidFill>
            </a:endParaRPr>
          </a:p>
        </p:txBody>
      </p:sp>
      <p:sp>
        <p:nvSpPr>
          <p:cNvPr id="16" name="TextBox 15">
            <a:extLst>
              <a:ext uri="{FF2B5EF4-FFF2-40B4-BE49-F238E27FC236}">
                <a16:creationId xmlns:a16="http://schemas.microsoft.com/office/drawing/2014/main" id="{1469883B-D63D-4A83-B351-69E0BC0B7C08}"/>
              </a:ext>
            </a:extLst>
          </p:cNvPr>
          <p:cNvSpPr txBox="1"/>
          <p:nvPr/>
        </p:nvSpPr>
        <p:spPr>
          <a:xfrm>
            <a:off x="6089003" y="1725368"/>
            <a:ext cx="5440218" cy="708891"/>
          </a:xfrm>
          <a:prstGeom prst="rect">
            <a:avLst/>
          </a:prstGeom>
        </p:spPr>
        <p:txBody>
          <a:bodyPr vert="horz" wrap="square" lIns="91440" tIns="45720" rIns="91440" bIns="45720" rtlCol="0" anchor="ctr">
            <a:noAutofit/>
          </a:bodyPr>
          <a:lstStyle/>
          <a:p>
            <a:pPr marL="0" indent="0" algn="ctr">
              <a:buNone/>
            </a:pPr>
            <a:r>
              <a:rPr lang="nl-NL" sz="2400" b="1" noProof="0" dirty="0">
                <a:solidFill>
                  <a:srgbClr val="22777B"/>
                </a:solidFill>
              </a:rPr>
              <a:t>Begrijpen</a:t>
            </a:r>
            <a:endParaRPr lang="nl-NL" sz="1100" b="1" noProof="0" dirty="0">
              <a:solidFill>
                <a:srgbClr val="22777B"/>
              </a:solidFill>
            </a:endParaRPr>
          </a:p>
        </p:txBody>
      </p:sp>
      <p:grpSp>
        <p:nvGrpSpPr>
          <p:cNvPr id="20" name="Group 19">
            <a:extLst>
              <a:ext uri="{FF2B5EF4-FFF2-40B4-BE49-F238E27FC236}">
                <a16:creationId xmlns:a16="http://schemas.microsoft.com/office/drawing/2014/main" id="{7AB95AF7-E81B-4F7B-B587-E09D729C69B9}"/>
              </a:ext>
            </a:extLst>
          </p:cNvPr>
          <p:cNvGrpSpPr/>
          <p:nvPr/>
        </p:nvGrpSpPr>
        <p:grpSpPr>
          <a:xfrm>
            <a:off x="1197854" y="1969173"/>
            <a:ext cx="379776" cy="262320"/>
            <a:chOff x="2836863" y="3201988"/>
            <a:chExt cx="2001836" cy="1382712"/>
          </a:xfrm>
          <a:solidFill>
            <a:srgbClr val="22777B"/>
          </a:solidFill>
        </p:grpSpPr>
        <p:sp>
          <p:nvSpPr>
            <p:cNvPr id="21" name="Freeform 1">
              <a:extLst>
                <a:ext uri="{FF2B5EF4-FFF2-40B4-BE49-F238E27FC236}">
                  <a16:creationId xmlns:a16="http://schemas.microsoft.com/office/drawing/2014/main" id="{4EBD1C3A-1DE7-47DA-8C0F-9751AA031F01}"/>
                </a:ext>
              </a:extLst>
            </p:cNvPr>
            <p:cNvSpPr>
              <a:spLocks noChangeArrowheads="1"/>
            </p:cNvSpPr>
            <p:nvPr/>
          </p:nvSpPr>
          <p:spPr bwMode="auto">
            <a:xfrm>
              <a:off x="2870199" y="3246437"/>
              <a:ext cx="1450975" cy="1247775"/>
            </a:xfrm>
            <a:custGeom>
              <a:avLst/>
              <a:gdLst>
                <a:gd name="T0" fmla="*/ 3625 w 4032"/>
                <a:gd name="T1" fmla="*/ 593 h 3468"/>
                <a:gd name="T2" fmla="*/ 3625 w 4032"/>
                <a:gd name="T3" fmla="*/ 593 h 3468"/>
                <a:gd name="T4" fmla="*/ 2000 w 4032"/>
                <a:gd name="T5" fmla="*/ 0 h 3468"/>
                <a:gd name="T6" fmla="*/ 593 w 4032"/>
                <a:gd name="T7" fmla="*/ 468 h 3468"/>
                <a:gd name="T8" fmla="*/ 593 w 4032"/>
                <a:gd name="T9" fmla="*/ 468 h 3468"/>
                <a:gd name="T10" fmla="*/ 31 w 4032"/>
                <a:gd name="T11" fmla="*/ 1531 h 3468"/>
                <a:gd name="T12" fmla="*/ 593 w 4032"/>
                <a:gd name="T13" fmla="*/ 2592 h 3468"/>
                <a:gd name="T14" fmla="*/ 500 w 4032"/>
                <a:gd name="T15" fmla="*/ 3374 h 3468"/>
                <a:gd name="T16" fmla="*/ 406 w 4032"/>
                <a:gd name="T17" fmla="*/ 3467 h 3468"/>
                <a:gd name="T18" fmla="*/ 531 w 4032"/>
                <a:gd name="T19" fmla="*/ 3467 h 3468"/>
                <a:gd name="T20" fmla="*/ 1343 w 4032"/>
                <a:gd name="T21" fmla="*/ 2967 h 3468"/>
                <a:gd name="T22" fmla="*/ 2093 w 4032"/>
                <a:gd name="T23" fmla="*/ 3030 h 3468"/>
                <a:gd name="T24" fmla="*/ 3531 w 4032"/>
                <a:gd name="T25" fmla="*/ 2592 h 3468"/>
                <a:gd name="T26" fmla="*/ 4031 w 4032"/>
                <a:gd name="T27" fmla="*/ 1531 h 3468"/>
                <a:gd name="T28" fmla="*/ 3625 w 4032"/>
                <a:gd name="T29" fmla="*/ 593 h 3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2" h="3468">
                  <a:moveTo>
                    <a:pt x="3625" y="593"/>
                  </a:moveTo>
                  <a:lnTo>
                    <a:pt x="3625" y="593"/>
                  </a:lnTo>
                  <a:cubicBezTo>
                    <a:pt x="3250" y="218"/>
                    <a:pt x="2625" y="0"/>
                    <a:pt x="2000" y="0"/>
                  </a:cubicBezTo>
                  <a:cubicBezTo>
                    <a:pt x="1468" y="0"/>
                    <a:pt x="1000" y="156"/>
                    <a:pt x="593" y="468"/>
                  </a:cubicBezTo>
                  <a:lnTo>
                    <a:pt x="593" y="468"/>
                  </a:lnTo>
                  <a:cubicBezTo>
                    <a:pt x="218" y="781"/>
                    <a:pt x="0" y="1156"/>
                    <a:pt x="31" y="1531"/>
                  </a:cubicBezTo>
                  <a:cubicBezTo>
                    <a:pt x="62" y="2217"/>
                    <a:pt x="500" y="2530"/>
                    <a:pt x="593" y="2592"/>
                  </a:cubicBezTo>
                  <a:cubicBezTo>
                    <a:pt x="625" y="2717"/>
                    <a:pt x="687" y="3092"/>
                    <a:pt x="500" y="3374"/>
                  </a:cubicBezTo>
                  <a:cubicBezTo>
                    <a:pt x="406" y="3467"/>
                    <a:pt x="406" y="3467"/>
                    <a:pt x="406" y="3467"/>
                  </a:cubicBezTo>
                  <a:cubicBezTo>
                    <a:pt x="531" y="3467"/>
                    <a:pt x="531" y="3467"/>
                    <a:pt x="531" y="3467"/>
                  </a:cubicBezTo>
                  <a:cubicBezTo>
                    <a:pt x="1000" y="3436"/>
                    <a:pt x="1281" y="3092"/>
                    <a:pt x="1343" y="2967"/>
                  </a:cubicBezTo>
                  <a:cubicBezTo>
                    <a:pt x="1437" y="2999"/>
                    <a:pt x="1718" y="3061"/>
                    <a:pt x="2093" y="3030"/>
                  </a:cubicBezTo>
                  <a:cubicBezTo>
                    <a:pt x="2656" y="3030"/>
                    <a:pt x="3156" y="2874"/>
                    <a:pt x="3531" y="2592"/>
                  </a:cubicBezTo>
                  <a:cubicBezTo>
                    <a:pt x="3843" y="2280"/>
                    <a:pt x="4031" y="1905"/>
                    <a:pt x="4031" y="1531"/>
                  </a:cubicBezTo>
                  <a:cubicBezTo>
                    <a:pt x="4031" y="1218"/>
                    <a:pt x="3906" y="906"/>
                    <a:pt x="3625" y="593"/>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2" name="Freeform 2">
              <a:extLst>
                <a:ext uri="{FF2B5EF4-FFF2-40B4-BE49-F238E27FC236}">
                  <a16:creationId xmlns:a16="http://schemas.microsoft.com/office/drawing/2014/main" id="{9AED99D7-6533-444E-AAEC-FCED51A177F0}"/>
                </a:ext>
              </a:extLst>
            </p:cNvPr>
            <p:cNvSpPr>
              <a:spLocks noChangeArrowheads="1"/>
            </p:cNvSpPr>
            <p:nvPr/>
          </p:nvSpPr>
          <p:spPr bwMode="auto">
            <a:xfrm>
              <a:off x="3983037" y="3201988"/>
              <a:ext cx="855662" cy="1338263"/>
            </a:xfrm>
            <a:custGeom>
              <a:avLst/>
              <a:gdLst>
                <a:gd name="T0" fmla="*/ 1781 w 2376"/>
                <a:gd name="T1" fmla="*/ 2811 h 3718"/>
                <a:gd name="T2" fmla="*/ 1781 w 2376"/>
                <a:gd name="T3" fmla="*/ 2811 h 3718"/>
                <a:gd name="T4" fmla="*/ 2375 w 2376"/>
                <a:gd name="T5" fmla="*/ 1687 h 3718"/>
                <a:gd name="T6" fmla="*/ 1750 w 2376"/>
                <a:gd name="T7" fmla="*/ 500 h 3718"/>
                <a:gd name="T8" fmla="*/ 282 w 2376"/>
                <a:gd name="T9" fmla="*/ 0 h 3718"/>
                <a:gd name="T10" fmla="*/ 0 w 2376"/>
                <a:gd name="T11" fmla="*/ 31 h 3718"/>
                <a:gd name="T12" fmla="*/ 782 w 2376"/>
                <a:gd name="T13" fmla="*/ 531 h 3718"/>
                <a:gd name="T14" fmla="*/ 1250 w 2376"/>
                <a:gd name="T15" fmla="*/ 1656 h 3718"/>
                <a:gd name="T16" fmla="*/ 625 w 2376"/>
                <a:gd name="T17" fmla="*/ 2905 h 3718"/>
                <a:gd name="T18" fmla="*/ 0 w 2376"/>
                <a:gd name="T19" fmla="*/ 3280 h 3718"/>
                <a:gd name="T20" fmla="*/ 875 w 2376"/>
                <a:gd name="T21" fmla="*/ 3249 h 3718"/>
                <a:gd name="T22" fmla="*/ 1938 w 2376"/>
                <a:gd name="T23" fmla="*/ 3717 h 3718"/>
                <a:gd name="T24" fmla="*/ 2219 w 2376"/>
                <a:gd name="T25" fmla="*/ 3717 h 3718"/>
                <a:gd name="T26" fmla="*/ 2032 w 2376"/>
                <a:gd name="T27" fmla="*/ 3530 h 3718"/>
                <a:gd name="T28" fmla="*/ 1781 w 2376"/>
                <a:gd name="T29" fmla="*/ 2811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6" h="3718">
                  <a:moveTo>
                    <a:pt x="1781" y="2811"/>
                  </a:moveTo>
                  <a:lnTo>
                    <a:pt x="1781" y="2811"/>
                  </a:lnTo>
                  <a:cubicBezTo>
                    <a:pt x="2157" y="2499"/>
                    <a:pt x="2375" y="2092"/>
                    <a:pt x="2375" y="1687"/>
                  </a:cubicBezTo>
                  <a:cubicBezTo>
                    <a:pt x="2375" y="1218"/>
                    <a:pt x="2188" y="812"/>
                    <a:pt x="1750" y="500"/>
                  </a:cubicBezTo>
                  <a:cubicBezTo>
                    <a:pt x="1344" y="187"/>
                    <a:pt x="844" y="0"/>
                    <a:pt x="282" y="0"/>
                  </a:cubicBezTo>
                  <a:cubicBezTo>
                    <a:pt x="188" y="0"/>
                    <a:pt x="94" y="0"/>
                    <a:pt x="0" y="31"/>
                  </a:cubicBezTo>
                  <a:cubicBezTo>
                    <a:pt x="282" y="125"/>
                    <a:pt x="563" y="312"/>
                    <a:pt x="782" y="531"/>
                  </a:cubicBezTo>
                  <a:cubicBezTo>
                    <a:pt x="1094" y="843"/>
                    <a:pt x="1250" y="1218"/>
                    <a:pt x="1250" y="1656"/>
                  </a:cubicBezTo>
                  <a:cubicBezTo>
                    <a:pt x="1250" y="2124"/>
                    <a:pt x="1032" y="2592"/>
                    <a:pt x="625" y="2905"/>
                  </a:cubicBezTo>
                  <a:cubicBezTo>
                    <a:pt x="438" y="3061"/>
                    <a:pt x="219" y="3186"/>
                    <a:pt x="0" y="3280"/>
                  </a:cubicBezTo>
                  <a:cubicBezTo>
                    <a:pt x="282" y="3311"/>
                    <a:pt x="563" y="3280"/>
                    <a:pt x="875" y="3249"/>
                  </a:cubicBezTo>
                  <a:cubicBezTo>
                    <a:pt x="1125" y="3561"/>
                    <a:pt x="1469" y="3717"/>
                    <a:pt x="1938" y="3717"/>
                  </a:cubicBezTo>
                  <a:cubicBezTo>
                    <a:pt x="2219" y="3717"/>
                    <a:pt x="2219" y="3717"/>
                    <a:pt x="2219" y="3717"/>
                  </a:cubicBezTo>
                  <a:cubicBezTo>
                    <a:pt x="2032" y="3530"/>
                    <a:pt x="2032" y="3530"/>
                    <a:pt x="2032" y="3530"/>
                  </a:cubicBezTo>
                  <a:cubicBezTo>
                    <a:pt x="1813" y="3311"/>
                    <a:pt x="1750" y="3092"/>
                    <a:pt x="1781" y="2811"/>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23" name="Freeform 3">
              <a:extLst>
                <a:ext uri="{FF2B5EF4-FFF2-40B4-BE49-F238E27FC236}">
                  <a16:creationId xmlns:a16="http://schemas.microsoft.com/office/drawing/2014/main" id="{37C66CA8-F02E-4202-9231-0C5B0B63CA2C}"/>
                </a:ext>
              </a:extLst>
            </p:cNvPr>
            <p:cNvSpPr>
              <a:spLocks noChangeArrowheads="1"/>
            </p:cNvSpPr>
            <p:nvPr/>
          </p:nvSpPr>
          <p:spPr bwMode="auto">
            <a:xfrm>
              <a:off x="2836863" y="3201988"/>
              <a:ext cx="1530351" cy="1382712"/>
            </a:xfrm>
            <a:custGeom>
              <a:avLst/>
              <a:gdLst>
                <a:gd name="T0" fmla="*/ 219 w 4251"/>
                <a:gd name="T1" fmla="*/ 3717 h 3843"/>
                <a:gd name="T2" fmla="*/ 219 w 4251"/>
                <a:gd name="T3" fmla="*/ 3717 h 3843"/>
                <a:gd name="T4" fmla="*/ 594 w 4251"/>
                <a:gd name="T5" fmla="*/ 2811 h 3843"/>
                <a:gd name="T6" fmla="*/ 0 w 4251"/>
                <a:gd name="T7" fmla="*/ 1656 h 3843"/>
                <a:gd name="T8" fmla="*/ 625 w 4251"/>
                <a:gd name="T9" fmla="*/ 500 h 3843"/>
                <a:gd name="T10" fmla="*/ 2094 w 4251"/>
                <a:gd name="T11" fmla="*/ 0 h 3843"/>
                <a:gd name="T12" fmla="*/ 2094 w 4251"/>
                <a:gd name="T13" fmla="*/ 0 h 3843"/>
                <a:gd name="T14" fmla="*/ 3781 w 4251"/>
                <a:gd name="T15" fmla="*/ 625 h 3843"/>
                <a:gd name="T16" fmla="*/ 4250 w 4251"/>
                <a:gd name="T17" fmla="*/ 1656 h 3843"/>
                <a:gd name="T18" fmla="*/ 3656 w 4251"/>
                <a:gd name="T19" fmla="*/ 2780 h 3843"/>
                <a:gd name="T20" fmla="*/ 1469 w 4251"/>
                <a:gd name="T21" fmla="*/ 3217 h 3843"/>
                <a:gd name="T22" fmla="*/ 219 w 4251"/>
                <a:gd name="T23" fmla="*/ 3717 h 3843"/>
                <a:gd name="T24" fmla="*/ 719 w 4251"/>
                <a:gd name="T25" fmla="*/ 625 h 3843"/>
                <a:gd name="T26" fmla="*/ 719 w 4251"/>
                <a:gd name="T27" fmla="*/ 625 h 3843"/>
                <a:gd name="T28" fmla="*/ 187 w 4251"/>
                <a:gd name="T29" fmla="*/ 1656 h 3843"/>
                <a:gd name="T30" fmla="*/ 750 w 4251"/>
                <a:gd name="T31" fmla="*/ 2686 h 3843"/>
                <a:gd name="T32" fmla="*/ 625 w 4251"/>
                <a:gd name="T33" fmla="*/ 3530 h 3843"/>
                <a:gd name="T34" fmla="*/ 1406 w 4251"/>
                <a:gd name="T35" fmla="*/ 3030 h 3843"/>
                <a:gd name="T36" fmla="*/ 3562 w 4251"/>
                <a:gd name="T37" fmla="*/ 2655 h 3843"/>
                <a:gd name="T38" fmla="*/ 4062 w 4251"/>
                <a:gd name="T39" fmla="*/ 1656 h 3843"/>
                <a:gd name="T40" fmla="*/ 3656 w 4251"/>
                <a:gd name="T41" fmla="*/ 750 h 3843"/>
                <a:gd name="T42" fmla="*/ 2094 w 4251"/>
                <a:gd name="T43" fmla="*/ 187 h 3843"/>
                <a:gd name="T44" fmla="*/ 719 w 4251"/>
                <a:gd name="T45" fmla="*/ 625 h 3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51" h="3843">
                  <a:moveTo>
                    <a:pt x="219" y="3717"/>
                  </a:moveTo>
                  <a:lnTo>
                    <a:pt x="219" y="3717"/>
                  </a:lnTo>
                  <a:cubicBezTo>
                    <a:pt x="219" y="3717"/>
                    <a:pt x="656" y="3342"/>
                    <a:pt x="594" y="2811"/>
                  </a:cubicBezTo>
                  <a:cubicBezTo>
                    <a:pt x="219" y="2499"/>
                    <a:pt x="0" y="2092"/>
                    <a:pt x="0" y="1656"/>
                  </a:cubicBezTo>
                  <a:cubicBezTo>
                    <a:pt x="0" y="1218"/>
                    <a:pt x="219" y="812"/>
                    <a:pt x="625" y="500"/>
                  </a:cubicBezTo>
                  <a:cubicBezTo>
                    <a:pt x="1031" y="187"/>
                    <a:pt x="1531" y="0"/>
                    <a:pt x="2094" y="0"/>
                  </a:cubicBezTo>
                  <a:lnTo>
                    <a:pt x="2094" y="0"/>
                  </a:lnTo>
                  <a:cubicBezTo>
                    <a:pt x="2781" y="0"/>
                    <a:pt x="3375" y="218"/>
                    <a:pt x="3781" y="625"/>
                  </a:cubicBezTo>
                  <a:cubicBezTo>
                    <a:pt x="4094" y="937"/>
                    <a:pt x="4250" y="1281"/>
                    <a:pt x="4250" y="1656"/>
                  </a:cubicBezTo>
                  <a:cubicBezTo>
                    <a:pt x="4250" y="2092"/>
                    <a:pt x="4031" y="2499"/>
                    <a:pt x="3656" y="2780"/>
                  </a:cubicBezTo>
                  <a:cubicBezTo>
                    <a:pt x="3125" y="3217"/>
                    <a:pt x="2344" y="3374"/>
                    <a:pt x="1469" y="3217"/>
                  </a:cubicBezTo>
                  <a:cubicBezTo>
                    <a:pt x="1125" y="3842"/>
                    <a:pt x="219" y="3717"/>
                    <a:pt x="219" y="3717"/>
                  </a:cubicBezTo>
                  <a:close/>
                  <a:moveTo>
                    <a:pt x="719" y="625"/>
                  </a:moveTo>
                  <a:lnTo>
                    <a:pt x="719" y="625"/>
                  </a:lnTo>
                  <a:cubicBezTo>
                    <a:pt x="375" y="906"/>
                    <a:pt x="156" y="1281"/>
                    <a:pt x="187" y="1656"/>
                  </a:cubicBezTo>
                  <a:cubicBezTo>
                    <a:pt x="219" y="2374"/>
                    <a:pt x="750" y="2686"/>
                    <a:pt x="750" y="2686"/>
                  </a:cubicBezTo>
                  <a:cubicBezTo>
                    <a:pt x="750" y="2686"/>
                    <a:pt x="875" y="3186"/>
                    <a:pt x="625" y="3530"/>
                  </a:cubicBezTo>
                  <a:cubicBezTo>
                    <a:pt x="1125" y="3499"/>
                    <a:pt x="1406" y="3030"/>
                    <a:pt x="1406" y="3030"/>
                  </a:cubicBezTo>
                  <a:cubicBezTo>
                    <a:pt x="1406" y="3030"/>
                    <a:pt x="2719" y="3342"/>
                    <a:pt x="3562" y="2655"/>
                  </a:cubicBezTo>
                  <a:cubicBezTo>
                    <a:pt x="3875" y="2374"/>
                    <a:pt x="4062" y="2030"/>
                    <a:pt x="4062" y="1656"/>
                  </a:cubicBezTo>
                  <a:cubicBezTo>
                    <a:pt x="4062" y="1312"/>
                    <a:pt x="3906" y="1031"/>
                    <a:pt x="3656" y="750"/>
                  </a:cubicBezTo>
                  <a:cubicBezTo>
                    <a:pt x="3281" y="375"/>
                    <a:pt x="2656" y="187"/>
                    <a:pt x="2094" y="187"/>
                  </a:cubicBezTo>
                  <a:cubicBezTo>
                    <a:pt x="1562" y="187"/>
                    <a:pt x="1094" y="343"/>
                    <a:pt x="719" y="625"/>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sp>
        <p:nvSpPr>
          <p:cNvPr id="11" name="TextBox 10">
            <a:extLst>
              <a:ext uri="{FF2B5EF4-FFF2-40B4-BE49-F238E27FC236}">
                <a16:creationId xmlns:a16="http://schemas.microsoft.com/office/drawing/2014/main" id="{2AC40BC3-3A98-4D3A-B753-422AC5230E74}"/>
              </a:ext>
            </a:extLst>
          </p:cNvPr>
          <p:cNvSpPr txBox="1"/>
          <p:nvPr/>
        </p:nvSpPr>
        <p:spPr>
          <a:xfrm>
            <a:off x="1545093" y="2483180"/>
            <a:ext cx="3673633" cy="715142"/>
          </a:xfrm>
          <a:prstGeom prst="rect">
            <a:avLst/>
          </a:prstGeom>
        </p:spPr>
        <p:txBody>
          <a:bodyPr vert="horz" wrap="square" lIns="91440" tIns="45720" rIns="91440" bIns="45720" rtlCol="0" anchor="t">
            <a:noAutofit/>
          </a:bodyPr>
          <a:lstStyle/>
          <a:p>
            <a:pPr marL="0" indent="0" algn="ctr">
              <a:buNone/>
            </a:pPr>
            <a:r>
              <a:rPr lang="nl-NL" sz="1600" noProof="0" dirty="0"/>
              <a:t>In gesprek met de klant om het probleem goed te begrijpen. </a:t>
            </a:r>
            <a:r>
              <a:rPr lang="nl-NL" sz="1600" dirty="0"/>
              <a:t>Eerste stappen uitschetsen voor vervolgonderzoek en aanpak van het probleem.</a:t>
            </a:r>
            <a:r>
              <a:rPr lang="nl-NL" sz="1600" noProof="0" dirty="0"/>
              <a:t>  </a:t>
            </a:r>
            <a:br>
              <a:rPr lang="nl-NL" sz="1600" noProof="0" dirty="0"/>
            </a:br>
            <a:r>
              <a:rPr lang="nl-NL" sz="1600" noProof="0" dirty="0"/>
              <a:t>(vraag 1)</a:t>
            </a:r>
          </a:p>
        </p:txBody>
      </p:sp>
      <p:cxnSp>
        <p:nvCxnSpPr>
          <p:cNvPr id="25" name="Straight Connector 24">
            <a:extLst>
              <a:ext uri="{FF2B5EF4-FFF2-40B4-BE49-F238E27FC236}">
                <a16:creationId xmlns:a16="http://schemas.microsoft.com/office/drawing/2014/main" id="{A0B1A030-934E-48CD-B2A7-CA9A018D720D}"/>
              </a:ext>
            </a:extLst>
          </p:cNvPr>
          <p:cNvCxnSpPr>
            <a:cxnSpLocks/>
          </p:cNvCxnSpPr>
          <p:nvPr/>
        </p:nvCxnSpPr>
        <p:spPr>
          <a:xfrm>
            <a:off x="1055946" y="2347125"/>
            <a:ext cx="4651926" cy="0"/>
          </a:xfrm>
          <a:prstGeom prst="line">
            <a:avLst/>
          </a:prstGeom>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21DA7CCA-B9CD-4429-AA0D-06B4DFA8F787}"/>
              </a:ext>
            </a:extLst>
          </p:cNvPr>
          <p:cNvSpPr txBox="1"/>
          <p:nvPr/>
        </p:nvSpPr>
        <p:spPr>
          <a:xfrm>
            <a:off x="7082693" y="2483180"/>
            <a:ext cx="3452838" cy="715142"/>
          </a:xfrm>
          <a:prstGeom prst="rect">
            <a:avLst/>
          </a:prstGeom>
        </p:spPr>
        <p:txBody>
          <a:bodyPr vert="horz" wrap="square" lIns="91440" tIns="45720" rIns="91440" bIns="45720" rtlCol="0" anchor="t">
            <a:noAutofit/>
          </a:bodyPr>
          <a:lstStyle/>
          <a:p>
            <a:pPr marL="0" indent="0" algn="ctr">
              <a:buNone/>
            </a:pPr>
            <a:r>
              <a:rPr lang="nl-NL" sz="1600" noProof="0" dirty="0"/>
              <a:t>De situatie van meerdere kanten bekijken en zorgen dat je dynamiek goed begrijpt. </a:t>
            </a:r>
            <a:r>
              <a:rPr lang="nl-NL" sz="1600" dirty="0"/>
              <a:t>Overleg met experts om begrip te verbeteren en eerste hypotheses te toetsen.</a:t>
            </a:r>
          </a:p>
          <a:p>
            <a:pPr marL="0" indent="0" algn="ctr">
              <a:buNone/>
            </a:pPr>
            <a:r>
              <a:rPr lang="nl-NL" sz="1600" dirty="0"/>
              <a:t>(vraag 3)</a:t>
            </a:r>
            <a:endParaRPr lang="nl-NL" sz="1600" noProof="0" dirty="0"/>
          </a:p>
        </p:txBody>
      </p:sp>
      <p:cxnSp>
        <p:nvCxnSpPr>
          <p:cNvPr id="34" name="Straight Connector 33">
            <a:extLst>
              <a:ext uri="{FF2B5EF4-FFF2-40B4-BE49-F238E27FC236}">
                <a16:creationId xmlns:a16="http://schemas.microsoft.com/office/drawing/2014/main" id="{F9A69BC2-D37D-47E7-A98D-F5FC2E3FEB2E}"/>
              </a:ext>
            </a:extLst>
          </p:cNvPr>
          <p:cNvCxnSpPr>
            <a:cxnSpLocks/>
          </p:cNvCxnSpPr>
          <p:nvPr/>
        </p:nvCxnSpPr>
        <p:spPr>
          <a:xfrm>
            <a:off x="6483149" y="2347125"/>
            <a:ext cx="4651926" cy="0"/>
          </a:xfrm>
          <a:prstGeom prst="line">
            <a:avLst/>
          </a:prstGeom>
        </p:spPr>
        <p:style>
          <a:lnRef idx="1">
            <a:schemeClr val="accent1"/>
          </a:lnRef>
          <a:fillRef idx="0">
            <a:schemeClr val="accent1"/>
          </a:fillRef>
          <a:effectRef idx="0">
            <a:schemeClr val="accent1"/>
          </a:effectRef>
          <a:fontRef idx="minor">
            <a:schemeClr val="tx1"/>
          </a:fontRef>
        </p:style>
      </p:cxnSp>
      <p:pic>
        <p:nvPicPr>
          <p:cNvPr id="36" name="Graphic 35" descr="Head with gears with solid fill">
            <a:extLst>
              <a:ext uri="{FF2B5EF4-FFF2-40B4-BE49-F238E27FC236}">
                <a16:creationId xmlns:a16="http://schemas.microsoft.com/office/drawing/2014/main" id="{078B8D90-5091-44FE-9949-2E671356E59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412570" y="1833393"/>
            <a:ext cx="480192" cy="480192"/>
          </a:xfrm>
          <a:prstGeom prst="rect">
            <a:avLst/>
          </a:prstGeom>
        </p:spPr>
      </p:pic>
      <p:sp>
        <p:nvSpPr>
          <p:cNvPr id="41" name="TextBox 40">
            <a:extLst>
              <a:ext uri="{FF2B5EF4-FFF2-40B4-BE49-F238E27FC236}">
                <a16:creationId xmlns:a16="http://schemas.microsoft.com/office/drawing/2014/main" id="{5F6DC51D-CD01-4CCC-BCC1-BDB9DA417284}"/>
              </a:ext>
            </a:extLst>
          </p:cNvPr>
          <p:cNvSpPr txBox="1"/>
          <p:nvPr/>
        </p:nvSpPr>
        <p:spPr>
          <a:xfrm>
            <a:off x="1823974" y="4654020"/>
            <a:ext cx="3115871" cy="715142"/>
          </a:xfrm>
          <a:prstGeom prst="rect">
            <a:avLst/>
          </a:prstGeom>
        </p:spPr>
        <p:txBody>
          <a:bodyPr vert="horz" wrap="square" lIns="91440" tIns="45720" rIns="91440" bIns="45720" rtlCol="0" anchor="t">
            <a:noAutofit/>
          </a:bodyPr>
          <a:lstStyle/>
          <a:p>
            <a:pPr marL="0" indent="0" algn="ctr">
              <a:buNone/>
            </a:pPr>
            <a:r>
              <a:rPr lang="nl-NL" sz="1600" noProof="0" dirty="0"/>
              <a:t>Meerdere oplossingsrichtingen bedenken en data-analyse doen wat de kosten hiervan zijn en welk effect de maatregel heeft.</a:t>
            </a:r>
            <a:br>
              <a:rPr lang="nl-NL" sz="1600" noProof="0" dirty="0"/>
            </a:br>
            <a:r>
              <a:rPr lang="nl-NL" sz="1600" noProof="0" dirty="0"/>
              <a:t>(vraag 4 &amp; 5)</a:t>
            </a:r>
          </a:p>
          <a:p>
            <a:pPr marL="0" indent="0" algn="ctr">
              <a:buNone/>
            </a:pPr>
            <a:r>
              <a:rPr lang="nl-NL" sz="1600" noProof="0" dirty="0"/>
              <a:t> </a:t>
            </a:r>
          </a:p>
        </p:txBody>
      </p:sp>
      <p:cxnSp>
        <p:nvCxnSpPr>
          <p:cNvPr id="42" name="Straight Connector 41">
            <a:extLst>
              <a:ext uri="{FF2B5EF4-FFF2-40B4-BE49-F238E27FC236}">
                <a16:creationId xmlns:a16="http://schemas.microsoft.com/office/drawing/2014/main" id="{F212A4A1-4B7E-4081-878F-0CBE7F717693}"/>
              </a:ext>
            </a:extLst>
          </p:cNvPr>
          <p:cNvCxnSpPr>
            <a:cxnSpLocks/>
          </p:cNvCxnSpPr>
          <p:nvPr/>
        </p:nvCxnSpPr>
        <p:spPr>
          <a:xfrm>
            <a:off x="1055946" y="4553556"/>
            <a:ext cx="4651926" cy="0"/>
          </a:xfrm>
          <a:prstGeom prst="line">
            <a:avLst/>
          </a:prstGeom>
        </p:spPr>
        <p:style>
          <a:lnRef idx="1">
            <a:schemeClr val="accent1"/>
          </a:lnRef>
          <a:fillRef idx="0">
            <a:schemeClr val="accent1"/>
          </a:fillRef>
          <a:effectRef idx="0">
            <a:schemeClr val="accent1"/>
          </a:effectRef>
          <a:fontRef idx="minor">
            <a:schemeClr val="tx1"/>
          </a:fontRef>
        </p:style>
      </p:cxnSp>
      <p:pic>
        <p:nvPicPr>
          <p:cNvPr id="43" name="Graphic 42" descr="Calculator with solid fill">
            <a:extLst>
              <a:ext uri="{FF2B5EF4-FFF2-40B4-BE49-F238E27FC236}">
                <a16:creationId xmlns:a16="http://schemas.microsoft.com/office/drawing/2014/main" id="{FC6DF234-426B-41C3-8592-34A966663B57}"/>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2135461" y="4010636"/>
            <a:ext cx="480192" cy="480192"/>
          </a:xfrm>
          <a:prstGeom prst="rect">
            <a:avLst/>
          </a:prstGeom>
        </p:spPr>
      </p:pic>
      <p:pic>
        <p:nvPicPr>
          <p:cNvPr id="44" name="Graphic 43" descr="Bar chart with solid fill">
            <a:extLst>
              <a:ext uri="{FF2B5EF4-FFF2-40B4-BE49-F238E27FC236}">
                <a16:creationId xmlns:a16="http://schemas.microsoft.com/office/drawing/2014/main" id="{9C888637-9FAE-44E5-A400-D3544772F6E9}"/>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6577013" y="4051136"/>
            <a:ext cx="480192" cy="480192"/>
          </a:xfrm>
          <a:prstGeom prst="rect">
            <a:avLst/>
          </a:prstGeom>
        </p:spPr>
      </p:pic>
      <p:sp>
        <p:nvSpPr>
          <p:cNvPr id="46" name="TextBox 45">
            <a:extLst>
              <a:ext uri="{FF2B5EF4-FFF2-40B4-BE49-F238E27FC236}">
                <a16:creationId xmlns:a16="http://schemas.microsoft.com/office/drawing/2014/main" id="{4B0ED185-7C55-4205-9E38-1F9C253CB73E}"/>
              </a:ext>
            </a:extLst>
          </p:cNvPr>
          <p:cNvSpPr txBox="1"/>
          <p:nvPr/>
        </p:nvSpPr>
        <p:spPr>
          <a:xfrm>
            <a:off x="7036219" y="4673340"/>
            <a:ext cx="3545786" cy="715142"/>
          </a:xfrm>
          <a:prstGeom prst="rect">
            <a:avLst/>
          </a:prstGeom>
        </p:spPr>
        <p:txBody>
          <a:bodyPr vert="horz" wrap="square" lIns="91440" tIns="45720" rIns="91440" bIns="45720" rtlCol="0" anchor="t">
            <a:noAutofit/>
          </a:bodyPr>
          <a:lstStyle/>
          <a:p>
            <a:pPr marL="0" indent="0" algn="ctr">
              <a:buNone/>
            </a:pPr>
            <a:r>
              <a:rPr lang="nl-NL" sz="1600" noProof="0" dirty="0"/>
              <a:t>Data-analyse doen door vergelijking te maken met andere steden. </a:t>
            </a:r>
            <a:r>
              <a:rPr lang="nl-NL" sz="1600" dirty="0"/>
              <a:t>Daarna bijvoorbeeld een verdiepingsslag naar relevante factoren die verschillen verklaren. G</a:t>
            </a:r>
            <a:r>
              <a:rPr lang="nl-NL" sz="1600" noProof="0" dirty="0" err="1"/>
              <a:t>evonden</a:t>
            </a:r>
            <a:r>
              <a:rPr lang="nl-NL" sz="1600" noProof="0" dirty="0"/>
              <a:t> inzichten helder presenteren en opschrijven.</a:t>
            </a:r>
          </a:p>
          <a:p>
            <a:pPr marL="0" indent="0" algn="ctr">
              <a:buNone/>
            </a:pPr>
            <a:r>
              <a:rPr lang="nl-NL" sz="1600" dirty="0"/>
              <a:t>(vraag 6)</a:t>
            </a:r>
            <a:endParaRPr lang="nl-NL" sz="1600" noProof="0" dirty="0"/>
          </a:p>
        </p:txBody>
      </p:sp>
      <p:cxnSp>
        <p:nvCxnSpPr>
          <p:cNvPr id="47" name="Straight Connector 46">
            <a:extLst>
              <a:ext uri="{FF2B5EF4-FFF2-40B4-BE49-F238E27FC236}">
                <a16:creationId xmlns:a16="http://schemas.microsoft.com/office/drawing/2014/main" id="{1F5E3D6F-5C1F-4A18-BD4D-09C1865995B4}"/>
              </a:ext>
            </a:extLst>
          </p:cNvPr>
          <p:cNvCxnSpPr>
            <a:cxnSpLocks/>
          </p:cNvCxnSpPr>
          <p:nvPr/>
        </p:nvCxnSpPr>
        <p:spPr>
          <a:xfrm>
            <a:off x="6483149" y="4545079"/>
            <a:ext cx="4651926"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63004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13DC084-BB76-4EA7-A37B-103AC34B3FC1}"/>
              </a:ext>
            </a:extLst>
          </p:cNvPr>
          <p:cNvGraphicFramePr>
            <a:graphicFrameLocks noChangeAspect="1"/>
          </p:cNvGraphicFramePr>
          <p:nvPr>
            <p:custDataLst>
              <p:tags r:id="rId2"/>
            </p:custDataLst>
            <p:extLst>
              <p:ext uri="{D42A27DB-BD31-4B8C-83A1-F6EECF244321}">
                <p14:modId xmlns:p14="http://schemas.microsoft.com/office/powerpoint/2010/main" val="1866611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73"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22" name="Group 21">
            <a:extLst>
              <a:ext uri="{FF2B5EF4-FFF2-40B4-BE49-F238E27FC236}">
                <a16:creationId xmlns:a16="http://schemas.microsoft.com/office/drawing/2014/main" id="{D8277459-C3F2-4AC4-B4C5-278B407403B1}"/>
              </a:ext>
            </a:extLst>
          </p:cNvPr>
          <p:cNvGrpSpPr/>
          <p:nvPr/>
        </p:nvGrpSpPr>
        <p:grpSpPr>
          <a:xfrm>
            <a:off x="9402087" y="1679532"/>
            <a:ext cx="1191460" cy="841660"/>
            <a:chOff x="8416939" y="1098185"/>
            <a:chExt cx="1664284" cy="1175669"/>
          </a:xfrm>
          <a:solidFill>
            <a:srgbClr val="FFBD42"/>
          </a:solidFill>
        </p:grpSpPr>
        <p:sp>
          <p:nvSpPr>
            <p:cNvPr id="4" name="Explosion: 8 Points 3">
              <a:extLst>
                <a:ext uri="{FF2B5EF4-FFF2-40B4-BE49-F238E27FC236}">
                  <a16:creationId xmlns:a16="http://schemas.microsoft.com/office/drawing/2014/main" id="{C9C8E079-2E24-4F9B-AAEE-29C545111D6B}"/>
                </a:ext>
              </a:extLst>
            </p:cNvPr>
            <p:cNvSpPr/>
            <p:nvPr/>
          </p:nvSpPr>
          <p:spPr>
            <a:xfrm>
              <a:off x="9627032" y="1098185"/>
              <a:ext cx="454191" cy="430573"/>
            </a:xfrm>
            <a:prstGeom prst="irregularSeal1">
              <a:avLst/>
            </a:prstGeom>
            <a:grp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7" name="Freeform: Shape 16">
              <a:extLst>
                <a:ext uri="{FF2B5EF4-FFF2-40B4-BE49-F238E27FC236}">
                  <a16:creationId xmlns:a16="http://schemas.microsoft.com/office/drawing/2014/main" id="{7ABBD6A8-BCC4-41E7-B5AA-99213641A17B}"/>
                </a:ext>
              </a:extLst>
            </p:cNvPr>
            <p:cNvSpPr/>
            <p:nvPr/>
          </p:nvSpPr>
          <p:spPr>
            <a:xfrm rot="2700000">
              <a:off x="8857938" y="1322224"/>
              <a:ext cx="510631" cy="1392629"/>
            </a:xfrm>
            <a:custGeom>
              <a:avLst/>
              <a:gdLst>
                <a:gd name="connsiteX0" fmla="*/ 1685878 w 2235200"/>
                <a:gd name="connsiteY0" fmla="*/ 1872804 h 6096000"/>
                <a:gd name="connsiteX1" fmla="*/ 1524003 w 2235200"/>
                <a:gd name="connsiteY1" fmla="*/ 1098897 h 6096000"/>
                <a:gd name="connsiteX2" fmla="*/ 1524003 w 2235200"/>
                <a:gd name="connsiteY2" fmla="*/ 609600 h 6096000"/>
                <a:gd name="connsiteX3" fmla="*/ 1625603 w 2235200"/>
                <a:gd name="connsiteY3" fmla="*/ 508000 h 6096000"/>
                <a:gd name="connsiteX4" fmla="*/ 1625603 w 2235200"/>
                <a:gd name="connsiteY4" fmla="*/ 101600 h 6096000"/>
                <a:gd name="connsiteX5" fmla="*/ 1524003 w 2235200"/>
                <a:gd name="connsiteY5" fmla="*/ 0 h 6096000"/>
                <a:gd name="connsiteX6" fmla="*/ 711202 w 2235200"/>
                <a:gd name="connsiteY6" fmla="*/ 0 h 6096000"/>
                <a:gd name="connsiteX7" fmla="*/ 609602 w 2235200"/>
                <a:gd name="connsiteY7" fmla="*/ 101600 h 6096000"/>
                <a:gd name="connsiteX8" fmla="*/ 609602 w 2235200"/>
                <a:gd name="connsiteY8" fmla="*/ 508000 h 6096000"/>
                <a:gd name="connsiteX9" fmla="*/ 711202 w 2235200"/>
                <a:gd name="connsiteY9" fmla="*/ 609600 h 6096000"/>
                <a:gd name="connsiteX10" fmla="*/ 711202 w 2235200"/>
                <a:gd name="connsiteY10" fmla="*/ 1098897 h 6096000"/>
                <a:gd name="connsiteX11" fmla="*/ 549377 w 2235200"/>
                <a:gd name="connsiteY11" fmla="*/ 1872804 h 6096000"/>
                <a:gd name="connsiteX12" fmla="*/ 264172 w 2235200"/>
                <a:gd name="connsiteY12" fmla="*/ 2524869 h 6096000"/>
                <a:gd name="connsiteX13" fmla="*/ 2 w 2235200"/>
                <a:gd name="connsiteY13" fmla="*/ 3787130 h 6096000"/>
                <a:gd name="connsiteX14" fmla="*/ 2 w 2235200"/>
                <a:gd name="connsiteY14" fmla="*/ 5994400 h 6096000"/>
                <a:gd name="connsiteX15" fmla="*/ 101602 w 2235200"/>
                <a:gd name="connsiteY15" fmla="*/ 6096000 h 6096000"/>
                <a:gd name="connsiteX16" fmla="*/ 2133603 w 2235200"/>
                <a:gd name="connsiteY16" fmla="*/ 6096000 h 6096000"/>
                <a:gd name="connsiteX17" fmla="*/ 2235203 w 2235200"/>
                <a:gd name="connsiteY17" fmla="*/ 5994400 h 6096000"/>
                <a:gd name="connsiteX18" fmla="*/ 2235203 w 2235200"/>
                <a:gd name="connsiteY18" fmla="*/ 3787130 h 6096000"/>
                <a:gd name="connsiteX19" fmla="*/ 1971033 w 2235200"/>
                <a:gd name="connsiteY19" fmla="*/ 2524869 h 6096000"/>
                <a:gd name="connsiteX20" fmla="*/ 812802 w 2235200"/>
                <a:gd name="connsiteY20" fmla="*/ 203200 h 6096000"/>
                <a:gd name="connsiteX21" fmla="*/ 1422403 w 2235200"/>
                <a:gd name="connsiteY21" fmla="*/ 203200 h 6096000"/>
                <a:gd name="connsiteX22" fmla="*/ 1422403 w 2235200"/>
                <a:gd name="connsiteY22" fmla="*/ 406400 h 6096000"/>
                <a:gd name="connsiteX23" fmla="*/ 812802 w 2235200"/>
                <a:gd name="connsiteY23" fmla="*/ 406400 h 6096000"/>
                <a:gd name="connsiteX24" fmla="*/ 2032003 w 2235200"/>
                <a:gd name="connsiteY24" fmla="*/ 5892800 h 6096000"/>
                <a:gd name="connsiteX25" fmla="*/ 203202 w 2235200"/>
                <a:gd name="connsiteY25" fmla="*/ 5892800 h 6096000"/>
                <a:gd name="connsiteX26" fmla="*/ 203202 w 2235200"/>
                <a:gd name="connsiteY26" fmla="*/ 3787130 h 6096000"/>
                <a:gd name="connsiteX27" fmla="*/ 450307 w 2235200"/>
                <a:gd name="connsiteY27" fmla="*/ 2606129 h 6096000"/>
                <a:gd name="connsiteX28" fmla="*/ 735511 w 2235200"/>
                <a:gd name="connsiteY28" fmla="*/ 1954064 h 6096000"/>
                <a:gd name="connsiteX29" fmla="*/ 914402 w 2235200"/>
                <a:gd name="connsiteY29" fmla="*/ 1098897 h 6096000"/>
                <a:gd name="connsiteX30" fmla="*/ 914402 w 2235200"/>
                <a:gd name="connsiteY30" fmla="*/ 609600 h 6096000"/>
                <a:gd name="connsiteX31" fmla="*/ 1320803 w 2235200"/>
                <a:gd name="connsiteY31" fmla="*/ 609600 h 6096000"/>
                <a:gd name="connsiteX32" fmla="*/ 1320803 w 2235200"/>
                <a:gd name="connsiteY32" fmla="*/ 1098897 h 6096000"/>
                <a:gd name="connsiteX33" fmla="*/ 1499744 w 2235200"/>
                <a:gd name="connsiteY33" fmla="*/ 1954064 h 6096000"/>
                <a:gd name="connsiteX34" fmla="*/ 1784898 w 2235200"/>
                <a:gd name="connsiteY34" fmla="*/ 2606129 h 6096000"/>
                <a:gd name="connsiteX35" fmla="*/ 2032003 w 2235200"/>
                <a:gd name="connsiteY35" fmla="*/ 3787130 h 6096000"/>
                <a:gd name="connsiteX0" fmla="*/ 1685878 w 2235204"/>
                <a:gd name="connsiteY0" fmla="*/ 1872804 h 6096000"/>
                <a:gd name="connsiteX1" fmla="*/ 1524003 w 2235204"/>
                <a:gd name="connsiteY1" fmla="*/ 1098897 h 6096000"/>
                <a:gd name="connsiteX2" fmla="*/ 1524003 w 2235204"/>
                <a:gd name="connsiteY2" fmla="*/ 609600 h 6096000"/>
                <a:gd name="connsiteX3" fmla="*/ 1625603 w 2235204"/>
                <a:gd name="connsiteY3" fmla="*/ 508000 h 6096000"/>
                <a:gd name="connsiteX4" fmla="*/ 1625603 w 2235204"/>
                <a:gd name="connsiteY4" fmla="*/ 101600 h 6096000"/>
                <a:gd name="connsiteX5" fmla="*/ 1524003 w 2235204"/>
                <a:gd name="connsiteY5" fmla="*/ 0 h 6096000"/>
                <a:gd name="connsiteX6" fmla="*/ 711202 w 2235204"/>
                <a:gd name="connsiteY6" fmla="*/ 0 h 6096000"/>
                <a:gd name="connsiteX7" fmla="*/ 609602 w 2235204"/>
                <a:gd name="connsiteY7" fmla="*/ 101600 h 6096000"/>
                <a:gd name="connsiteX8" fmla="*/ 609602 w 2235204"/>
                <a:gd name="connsiteY8" fmla="*/ 508000 h 6096000"/>
                <a:gd name="connsiteX9" fmla="*/ 711202 w 2235204"/>
                <a:gd name="connsiteY9" fmla="*/ 609600 h 6096000"/>
                <a:gd name="connsiteX10" fmla="*/ 711202 w 2235204"/>
                <a:gd name="connsiteY10" fmla="*/ 1098897 h 6096000"/>
                <a:gd name="connsiteX11" fmla="*/ 549377 w 2235204"/>
                <a:gd name="connsiteY11" fmla="*/ 1872804 h 6096000"/>
                <a:gd name="connsiteX12" fmla="*/ 264172 w 2235204"/>
                <a:gd name="connsiteY12" fmla="*/ 2524869 h 6096000"/>
                <a:gd name="connsiteX13" fmla="*/ 2 w 2235204"/>
                <a:gd name="connsiteY13" fmla="*/ 3787130 h 6096000"/>
                <a:gd name="connsiteX14" fmla="*/ 2 w 2235204"/>
                <a:gd name="connsiteY14" fmla="*/ 5994400 h 6096000"/>
                <a:gd name="connsiteX15" fmla="*/ 101602 w 2235204"/>
                <a:gd name="connsiteY15" fmla="*/ 6096000 h 6096000"/>
                <a:gd name="connsiteX16" fmla="*/ 2133603 w 2235204"/>
                <a:gd name="connsiteY16" fmla="*/ 6096000 h 6096000"/>
                <a:gd name="connsiteX17" fmla="*/ 2235203 w 2235204"/>
                <a:gd name="connsiteY17" fmla="*/ 5994400 h 6096000"/>
                <a:gd name="connsiteX18" fmla="*/ 2235203 w 2235204"/>
                <a:gd name="connsiteY18" fmla="*/ 3787130 h 6096000"/>
                <a:gd name="connsiteX19" fmla="*/ 1971033 w 2235204"/>
                <a:gd name="connsiteY19" fmla="*/ 2524869 h 6096000"/>
                <a:gd name="connsiteX20" fmla="*/ 1685878 w 2235204"/>
                <a:gd name="connsiteY20" fmla="*/ 1872804 h 6096000"/>
                <a:gd name="connsiteX21" fmla="*/ 812802 w 2235204"/>
                <a:gd name="connsiteY21" fmla="*/ 203200 h 6096000"/>
                <a:gd name="connsiteX22" fmla="*/ 1422403 w 2235204"/>
                <a:gd name="connsiteY22" fmla="*/ 203200 h 6096000"/>
                <a:gd name="connsiteX23" fmla="*/ 1422403 w 2235204"/>
                <a:gd name="connsiteY23" fmla="*/ 406400 h 6096000"/>
                <a:gd name="connsiteX24" fmla="*/ 812802 w 2235204"/>
                <a:gd name="connsiteY24" fmla="*/ 406400 h 6096000"/>
                <a:gd name="connsiteX25" fmla="*/ 812802 w 2235204"/>
                <a:gd name="connsiteY25" fmla="*/ 203200 h 6096000"/>
                <a:gd name="connsiteX26" fmla="*/ 2032003 w 2235204"/>
                <a:gd name="connsiteY26" fmla="*/ 5892800 h 6096000"/>
                <a:gd name="connsiteX27" fmla="*/ 203202 w 2235204"/>
                <a:gd name="connsiteY27" fmla="*/ 5892800 h 6096000"/>
                <a:gd name="connsiteX28" fmla="*/ 203202 w 2235204"/>
                <a:gd name="connsiteY28" fmla="*/ 3787130 h 6096000"/>
                <a:gd name="connsiteX29" fmla="*/ 450307 w 2235204"/>
                <a:gd name="connsiteY29" fmla="*/ 2606129 h 6096000"/>
                <a:gd name="connsiteX30" fmla="*/ 1044128 w 2235204"/>
                <a:gd name="connsiteY30" fmla="*/ 2056938 h 6096000"/>
                <a:gd name="connsiteX31" fmla="*/ 914402 w 2235204"/>
                <a:gd name="connsiteY31" fmla="*/ 1098897 h 6096000"/>
                <a:gd name="connsiteX32" fmla="*/ 914402 w 2235204"/>
                <a:gd name="connsiteY32" fmla="*/ 609600 h 6096000"/>
                <a:gd name="connsiteX33" fmla="*/ 1320803 w 2235204"/>
                <a:gd name="connsiteY33" fmla="*/ 609600 h 6096000"/>
                <a:gd name="connsiteX34" fmla="*/ 1320803 w 2235204"/>
                <a:gd name="connsiteY34" fmla="*/ 1098897 h 6096000"/>
                <a:gd name="connsiteX35" fmla="*/ 1499744 w 2235204"/>
                <a:gd name="connsiteY35" fmla="*/ 1954064 h 6096000"/>
                <a:gd name="connsiteX36" fmla="*/ 1784898 w 2235204"/>
                <a:gd name="connsiteY36" fmla="*/ 2606129 h 6096000"/>
                <a:gd name="connsiteX37" fmla="*/ 2032003 w 2235204"/>
                <a:gd name="connsiteY37" fmla="*/ 3787130 h 6096000"/>
                <a:gd name="connsiteX38" fmla="*/ 2032003 w 2235204"/>
                <a:gd name="connsiteY38" fmla="*/ 5892800 h 6096000"/>
                <a:gd name="connsiteX0" fmla="*/ 1685878 w 2235204"/>
                <a:gd name="connsiteY0" fmla="*/ 1872804 h 6096000"/>
                <a:gd name="connsiteX1" fmla="*/ 1524003 w 2235204"/>
                <a:gd name="connsiteY1" fmla="*/ 1098897 h 6096000"/>
                <a:gd name="connsiteX2" fmla="*/ 1524003 w 2235204"/>
                <a:gd name="connsiteY2" fmla="*/ 609600 h 6096000"/>
                <a:gd name="connsiteX3" fmla="*/ 1625603 w 2235204"/>
                <a:gd name="connsiteY3" fmla="*/ 508000 h 6096000"/>
                <a:gd name="connsiteX4" fmla="*/ 1625603 w 2235204"/>
                <a:gd name="connsiteY4" fmla="*/ 101600 h 6096000"/>
                <a:gd name="connsiteX5" fmla="*/ 1524003 w 2235204"/>
                <a:gd name="connsiteY5" fmla="*/ 0 h 6096000"/>
                <a:gd name="connsiteX6" fmla="*/ 711202 w 2235204"/>
                <a:gd name="connsiteY6" fmla="*/ 0 h 6096000"/>
                <a:gd name="connsiteX7" fmla="*/ 609602 w 2235204"/>
                <a:gd name="connsiteY7" fmla="*/ 101600 h 6096000"/>
                <a:gd name="connsiteX8" fmla="*/ 609602 w 2235204"/>
                <a:gd name="connsiteY8" fmla="*/ 508000 h 6096000"/>
                <a:gd name="connsiteX9" fmla="*/ 711202 w 2235204"/>
                <a:gd name="connsiteY9" fmla="*/ 609600 h 6096000"/>
                <a:gd name="connsiteX10" fmla="*/ 711202 w 2235204"/>
                <a:gd name="connsiteY10" fmla="*/ 1098897 h 6096000"/>
                <a:gd name="connsiteX11" fmla="*/ 549377 w 2235204"/>
                <a:gd name="connsiteY11" fmla="*/ 1872804 h 6096000"/>
                <a:gd name="connsiteX12" fmla="*/ 264172 w 2235204"/>
                <a:gd name="connsiteY12" fmla="*/ 2524869 h 6096000"/>
                <a:gd name="connsiteX13" fmla="*/ 2 w 2235204"/>
                <a:gd name="connsiteY13" fmla="*/ 3787130 h 6096000"/>
                <a:gd name="connsiteX14" fmla="*/ 2 w 2235204"/>
                <a:gd name="connsiteY14" fmla="*/ 5994400 h 6096000"/>
                <a:gd name="connsiteX15" fmla="*/ 101602 w 2235204"/>
                <a:gd name="connsiteY15" fmla="*/ 6096000 h 6096000"/>
                <a:gd name="connsiteX16" fmla="*/ 2133603 w 2235204"/>
                <a:gd name="connsiteY16" fmla="*/ 6096000 h 6096000"/>
                <a:gd name="connsiteX17" fmla="*/ 2235203 w 2235204"/>
                <a:gd name="connsiteY17" fmla="*/ 5994400 h 6096000"/>
                <a:gd name="connsiteX18" fmla="*/ 2235203 w 2235204"/>
                <a:gd name="connsiteY18" fmla="*/ 3787130 h 6096000"/>
                <a:gd name="connsiteX19" fmla="*/ 1971033 w 2235204"/>
                <a:gd name="connsiteY19" fmla="*/ 2524869 h 6096000"/>
                <a:gd name="connsiteX20" fmla="*/ 1685878 w 2235204"/>
                <a:gd name="connsiteY20" fmla="*/ 1872804 h 6096000"/>
                <a:gd name="connsiteX21" fmla="*/ 812802 w 2235204"/>
                <a:gd name="connsiteY21" fmla="*/ 203200 h 6096000"/>
                <a:gd name="connsiteX22" fmla="*/ 1422403 w 2235204"/>
                <a:gd name="connsiteY22" fmla="*/ 203200 h 6096000"/>
                <a:gd name="connsiteX23" fmla="*/ 1422403 w 2235204"/>
                <a:gd name="connsiteY23" fmla="*/ 406400 h 6096000"/>
                <a:gd name="connsiteX24" fmla="*/ 812802 w 2235204"/>
                <a:gd name="connsiteY24" fmla="*/ 406400 h 6096000"/>
                <a:gd name="connsiteX25" fmla="*/ 812802 w 2235204"/>
                <a:gd name="connsiteY25" fmla="*/ 203200 h 6096000"/>
                <a:gd name="connsiteX26" fmla="*/ 2032003 w 2235204"/>
                <a:gd name="connsiteY26" fmla="*/ 5892800 h 6096000"/>
                <a:gd name="connsiteX27" fmla="*/ 203202 w 2235204"/>
                <a:gd name="connsiteY27" fmla="*/ 5892800 h 6096000"/>
                <a:gd name="connsiteX28" fmla="*/ 203202 w 2235204"/>
                <a:gd name="connsiteY28" fmla="*/ 3787130 h 6096000"/>
                <a:gd name="connsiteX29" fmla="*/ 450307 w 2235204"/>
                <a:gd name="connsiteY29" fmla="*/ 2606129 h 6096000"/>
                <a:gd name="connsiteX30" fmla="*/ 914402 w 2235204"/>
                <a:gd name="connsiteY30" fmla="*/ 1098897 h 6096000"/>
                <a:gd name="connsiteX31" fmla="*/ 914402 w 2235204"/>
                <a:gd name="connsiteY31" fmla="*/ 609600 h 6096000"/>
                <a:gd name="connsiteX32" fmla="*/ 1320803 w 2235204"/>
                <a:gd name="connsiteY32" fmla="*/ 609600 h 6096000"/>
                <a:gd name="connsiteX33" fmla="*/ 1320803 w 2235204"/>
                <a:gd name="connsiteY33" fmla="*/ 1098897 h 6096000"/>
                <a:gd name="connsiteX34" fmla="*/ 1499744 w 2235204"/>
                <a:gd name="connsiteY34" fmla="*/ 1954064 h 6096000"/>
                <a:gd name="connsiteX35" fmla="*/ 1784898 w 2235204"/>
                <a:gd name="connsiteY35" fmla="*/ 2606129 h 6096000"/>
                <a:gd name="connsiteX36" fmla="*/ 2032003 w 2235204"/>
                <a:gd name="connsiteY36" fmla="*/ 3787130 h 6096000"/>
                <a:gd name="connsiteX37" fmla="*/ 2032003 w 2235204"/>
                <a:gd name="connsiteY37" fmla="*/ 5892800 h 6096000"/>
                <a:gd name="connsiteX0" fmla="*/ 1685878 w 2235204"/>
                <a:gd name="connsiteY0" fmla="*/ 1872804 h 6096000"/>
                <a:gd name="connsiteX1" fmla="*/ 1524003 w 2235204"/>
                <a:gd name="connsiteY1" fmla="*/ 1098897 h 6096000"/>
                <a:gd name="connsiteX2" fmla="*/ 1524003 w 2235204"/>
                <a:gd name="connsiteY2" fmla="*/ 609600 h 6096000"/>
                <a:gd name="connsiteX3" fmla="*/ 1625603 w 2235204"/>
                <a:gd name="connsiteY3" fmla="*/ 508000 h 6096000"/>
                <a:gd name="connsiteX4" fmla="*/ 1625603 w 2235204"/>
                <a:gd name="connsiteY4" fmla="*/ 101600 h 6096000"/>
                <a:gd name="connsiteX5" fmla="*/ 1524003 w 2235204"/>
                <a:gd name="connsiteY5" fmla="*/ 0 h 6096000"/>
                <a:gd name="connsiteX6" fmla="*/ 711202 w 2235204"/>
                <a:gd name="connsiteY6" fmla="*/ 0 h 6096000"/>
                <a:gd name="connsiteX7" fmla="*/ 609602 w 2235204"/>
                <a:gd name="connsiteY7" fmla="*/ 101600 h 6096000"/>
                <a:gd name="connsiteX8" fmla="*/ 609602 w 2235204"/>
                <a:gd name="connsiteY8" fmla="*/ 508000 h 6096000"/>
                <a:gd name="connsiteX9" fmla="*/ 711202 w 2235204"/>
                <a:gd name="connsiteY9" fmla="*/ 609600 h 6096000"/>
                <a:gd name="connsiteX10" fmla="*/ 711202 w 2235204"/>
                <a:gd name="connsiteY10" fmla="*/ 1098897 h 6096000"/>
                <a:gd name="connsiteX11" fmla="*/ 549377 w 2235204"/>
                <a:gd name="connsiteY11" fmla="*/ 1872804 h 6096000"/>
                <a:gd name="connsiteX12" fmla="*/ 264172 w 2235204"/>
                <a:gd name="connsiteY12" fmla="*/ 2524869 h 6096000"/>
                <a:gd name="connsiteX13" fmla="*/ 2 w 2235204"/>
                <a:gd name="connsiteY13" fmla="*/ 3787130 h 6096000"/>
                <a:gd name="connsiteX14" fmla="*/ 2 w 2235204"/>
                <a:gd name="connsiteY14" fmla="*/ 5994400 h 6096000"/>
                <a:gd name="connsiteX15" fmla="*/ 101602 w 2235204"/>
                <a:gd name="connsiteY15" fmla="*/ 6096000 h 6096000"/>
                <a:gd name="connsiteX16" fmla="*/ 2133603 w 2235204"/>
                <a:gd name="connsiteY16" fmla="*/ 6096000 h 6096000"/>
                <a:gd name="connsiteX17" fmla="*/ 2235203 w 2235204"/>
                <a:gd name="connsiteY17" fmla="*/ 5994400 h 6096000"/>
                <a:gd name="connsiteX18" fmla="*/ 2235203 w 2235204"/>
                <a:gd name="connsiteY18" fmla="*/ 3787130 h 6096000"/>
                <a:gd name="connsiteX19" fmla="*/ 1971033 w 2235204"/>
                <a:gd name="connsiteY19" fmla="*/ 2524869 h 6096000"/>
                <a:gd name="connsiteX20" fmla="*/ 1685878 w 2235204"/>
                <a:gd name="connsiteY20" fmla="*/ 1872804 h 6096000"/>
                <a:gd name="connsiteX21" fmla="*/ 812802 w 2235204"/>
                <a:gd name="connsiteY21" fmla="*/ 203200 h 6096000"/>
                <a:gd name="connsiteX22" fmla="*/ 1422403 w 2235204"/>
                <a:gd name="connsiteY22" fmla="*/ 203200 h 6096000"/>
                <a:gd name="connsiteX23" fmla="*/ 1422403 w 2235204"/>
                <a:gd name="connsiteY23" fmla="*/ 406400 h 6096000"/>
                <a:gd name="connsiteX24" fmla="*/ 812802 w 2235204"/>
                <a:gd name="connsiteY24" fmla="*/ 406400 h 6096000"/>
                <a:gd name="connsiteX25" fmla="*/ 812802 w 2235204"/>
                <a:gd name="connsiteY25" fmla="*/ 203200 h 6096000"/>
                <a:gd name="connsiteX26" fmla="*/ 2032003 w 2235204"/>
                <a:gd name="connsiteY26" fmla="*/ 5892800 h 6096000"/>
                <a:gd name="connsiteX27" fmla="*/ 203202 w 2235204"/>
                <a:gd name="connsiteY27" fmla="*/ 5892800 h 6096000"/>
                <a:gd name="connsiteX28" fmla="*/ 203202 w 2235204"/>
                <a:gd name="connsiteY28" fmla="*/ 3787130 h 6096000"/>
                <a:gd name="connsiteX29" fmla="*/ 450307 w 2235204"/>
                <a:gd name="connsiteY29" fmla="*/ 2606129 h 6096000"/>
                <a:gd name="connsiteX30" fmla="*/ 914402 w 2235204"/>
                <a:gd name="connsiteY30" fmla="*/ 609600 h 6096000"/>
                <a:gd name="connsiteX31" fmla="*/ 1320803 w 2235204"/>
                <a:gd name="connsiteY31" fmla="*/ 609600 h 6096000"/>
                <a:gd name="connsiteX32" fmla="*/ 1320803 w 2235204"/>
                <a:gd name="connsiteY32" fmla="*/ 1098897 h 6096000"/>
                <a:gd name="connsiteX33" fmla="*/ 1499744 w 2235204"/>
                <a:gd name="connsiteY33" fmla="*/ 1954064 h 6096000"/>
                <a:gd name="connsiteX34" fmla="*/ 1784898 w 2235204"/>
                <a:gd name="connsiteY34" fmla="*/ 2606129 h 6096000"/>
                <a:gd name="connsiteX35" fmla="*/ 2032003 w 2235204"/>
                <a:gd name="connsiteY35" fmla="*/ 3787130 h 6096000"/>
                <a:gd name="connsiteX36" fmla="*/ 2032003 w 2235204"/>
                <a:gd name="connsiteY36" fmla="*/ 5892800 h 6096000"/>
                <a:gd name="connsiteX0" fmla="*/ 1685878 w 2235204"/>
                <a:gd name="connsiteY0" fmla="*/ 1872804 h 6096000"/>
                <a:gd name="connsiteX1" fmla="*/ 1524003 w 2235204"/>
                <a:gd name="connsiteY1" fmla="*/ 1098897 h 6096000"/>
                <a:gd name="connsiteX2" fmla="*/ 1524003 w 2235204"/>
                <a:gd name="connsiteY2" fmla="*/ 609600 h 6096000"/>
                <a:gd name="connsiteX3" fmla="*/ 1625603 w 2235204"/>
                <a:gd name="connsiteY3" fmla="*/ 508000 h 6096000"/>
                <a:gd name="connsiteX4" fmla="*/ 1625603 w 2235204"/>
                <a:gd name="connsiteY4" fmla="*/ 101600 h 6096000"/>
                <a:gd name="connsiteX5" fmla="*/ 1524003 w 2235204"/>
                <a:gd name="connsiteY5" fmla="*/ 0 h 6096000"/>
                <a:gd name="connsiteX6" fmla="*/ 711202 w 2235204"/>
                <a:gd name="connsiteY6" fmla="*/ 0 h 6096000"/>
                <a:gd name="connsiteX7" fmla="*/ 609602 w 2235204"/>
                <a:gd name="connsiteY7" fmla="*/ 101600 h 6096000"/>
                <a:gd name="connsiteX8" fmla="*/ 609602 w 2235204"/>
                <a:gd name="connsiteY8" fmla="*/ 508000 h 6096000"/>
                <a:gd name="connsiteX9" fmla="*/ 711202 w 2235204"/>
                <a:gd name="connsiteY9" fmla="*/ 609600 h 6096000"/>
                <a:gd name="connsiteX10" fmla="*/ 711202 w 2235204"/>
                <a:gd name="connsiteY10" fmla="*/ 1098897 h 6096000"/>
                <a:gd name="connsiteX11" fmla="*/ 549377 w 2235204"/>
                <a:gd name="connsiteY11" fmla="*/ 1872804 h 6096000"/>
                <a:gd name="connsiteX12" fmla="*/ 264172 w 2235204"/>
                <a:gd name="connsiteY12" fmla="*/ 2524869 h 6096000"/>
                <a:gd name="connsiteX13" fmla="*/ 2 w 2235204"/>
                <a:gd name="connsiteY13" fmla="*/ 3787130 h 6096000"/>
                <a:gd name="connsiteX14" fmla="*/ 2 w 2235204"/>
                <a:gd name="connsiteY14" fmla="*/ 5994400 h 6096000"/>
                <a:gd name="connsiteX15" fmla="*/ 101602 w 2235204"/>
                <a:gd name="connsiteY15" fmla="*/ 6096000 h 6096000"/>
                <a:gd name="connsiteX16" fmla="*/ 2133603 w 2235204"/>
                <a:gd name="connsiteY16" fmla="*/ 6096000 h 6096000"/>
                <a:gd name="connsiteX17" fmla="*/ 2235203 w 2235204"/>
                <a:gd name="connsiteY17" fmla="*/ 5994400 h 6096000"/>
                <a:gd name="connsiteX18" fmla="*/ 2235203 w 2235204"/>
                <a:gd name="connsiteY18" fmla="*/ 3787130 h 6096000"/>
                <a:gd name="connsiteX19" fmla="*/ 1971033 w 2235204"/>
                <a:gd name="connsiteY19" fmla="*/ 2524869 h 6096000"/>
                <a:gd name="connsiteX20" fmla="*/ 1685878 w 2235204"/>
                <a:gd name="connsiteY20" fmla="*/ 1872804 h 6096000"/>
                <a:gd name="connsiteX21" fmla="*/ 812802 w 2235204"/>
                <a:gd name="connsiteY21" fmla="*/ 203200 h 6096000"/>
                <a:gd name="connsiteX22" fmla="*/ 1422403 w 2235204"/>
                <a:gd name="connsiteY22" fmla="*/ 203200 h 6096000"/>
                <a:gd name="connsiteX23" fmla="*/ 1422403 w 2235204"/>
                <a:gd name="connsiteY23" fmla="*/ 406400 h 6096000"/>
                <a:gd name="connsiteX24" fmla="*/ 812802 w 2235204"/>
                <a:gd name="connsiteY24" fmla="*/ 406400 h 6096000"/>
                <a:gd name="connsiteX25" fmla="*/ 812802 w 2235204"/>
                <a:gd name="connsiteY25" fmla="*/ 203200 h 6096000"/>
                <a:gd name="connsiteX26" fmla="*/ 2032003 w 2235204"/>
                <a:gd name="connsiteY26" fmla="*/ 5892800 h 6096000"/>
                <a:gd name="connsiteX27" fmla="*/ 203202 w 2235204"/>
                <a:gd name="connsiteY27" fmla="*/ 5892800 h 6096000"/>
                <a:gd name="connsiteX28" fmla="*/ 203202 w 2235204"/>
                <a:gd name="connsiteY28" fmla="*/ 3787130 h 6096000"/>
                <a:gd name="connsiteX29" fmla="*/ 450307 w 2235204"/>
                <a:gd name="connsiteY29" fmla="*/ 2606129 h 6096000"/>
                <a:gd name="connsiteX30" fmla="*/ 1320803 w 2235204"/>
                <a:gd name="connsiteY30" fmla="*/ 609600 h 6096000"/>
                <a:gd name="connsiteX31" fmla="*/ 1320803 w 2235204"/>
                <a:gd name="connsiteY31" fmla="*/ 1098897 h 6096000"/>
                <a:gd name="connsiteX32" fmla="*/ 1499744 w 2235204"/>
                <a:gd name="connsiteY32" fmla="*/ 1954064 h 6096000"/>
                <a:gd name="connsiteX33" fmla="*/ 1784898 w 2235204"/>
                <a:gd name="connsiteY33" fmla="*/ 2606129 h 6096000"/>
                <a:gd name="connsiteX34" fmla="*/ 2032003 w 2235204"/>
                <a:gd name="connsiteY34" fmla="*/ 3787130 h 6096000"/>
                <a:gd name="connsiteX35" fmla="*/ 2032003 w 2235204"/>
                <a:gd name="connsiteY35" fmla="*/ 5892800 h 6096000"/>
                <a:gd name="connsiteX0" fmla="*/ 1685878 w 2235204"/>
                <a:gd name="connsiteY0" fmla="*/ 1872804 h 6096000"/>
                <a:gd name="connsiteX1" fmla="*/ 1524003 w 2235204"/>
                <a:gd name="connsiteY1" fmla="*/ 1098897 h 6096000"/>
                <a:gd name="connsiteX2" fmla="*/ 1524003 w 2235204"/>
                <a:gd name="connsiteY2" fmla="*/ 609600 h 6096000"/>
                <a:gd name="connsiteX3" fmla="*/ 1625603 w 2235204"/>
                <a:gd name="connsiteY3" fmla="*/ 508000 h 6096000"/>
                <a:gd name="connsiteX4" fmla="*/ 1625603 w 2235204"/>
                <a:gd name="connsiteY4" fmla="*/ 101600 h 6096000"/>
                <a:gd name="connsiteX5" fmla="*/ 1524003 w 2235204"/>
                <a:gd name="connsiteY5" fmla="*/ 0 h 6096000"/>
                <a:gd name="connsiteX6" fmla="*/ 711202 w 2235204"/>
                <a:gd name="connsiteY6" fmla="*/ 0 h 6096000"/>
                <a:gd name="connsiteX7" fmla="*/ 609602 w 2235204"/>
                <a:gd name="connsiteY7" fmla="*/ 101600 h 6096000"/>
                <a:gd name="connsiteX8" fmla="*/ 609602 w 2235204"/>
                <a:gd name="connsiteY8" fmla="*/ 508000 h 6096000"/>
                <a:gd name="connsiteX9" fmla="*/ 711202 w 2235204"/>
                <a:gd name="connsiteY9" fmla="*/ 609600 h 6096000"/>
                <a:gd name="connsiteX10" fmla="*/ 711202 w 2235204"/>
                <a:gd name="connsiteY10" fmla="*/ 1098897 h 6096000"/>
                <a:gd name="connsiteX11" fmla="*/ 549377 w 2235204"/>
                <a:gd name="connsiteY11" fmla="*/ 1872804 h 6096000"/>
                <a:gd name="connsiteX12" fmla="*/ 264172 w 2235204"/>
                <a:gd name="connsiteY12" fmla="*/ 2524869 h 6096000"/>
                <a:gd name="connsiteX13" fmla="*/ 2 w 2235204"/>
                <a:gd name="connsiteY13" fmla="*/ 3787130 h 6096000"/>
                <a:gd name="connsiteX14" fmla="*/ 2 w 2235204"/>
                <a:gd name="connsiteY14" fmla="*/ 5994400 h 6096000"/>
                <a:gd name="connsiteX15" fmla="*/ 101602 w 2235204"/>
                <a:gd name="connsiteY15" fmla="*/ 6096000 h 6096000"/>
                <a:gd name="connsiteX16" fmla="*/ 2133603 w 2235204"/>
                <a:gd name="connsiteY16" fmla="*/ 6096000 h 6096000"/>
                <a:gd name="connsiteX17" fmla="*/ 2235203 w 2235204"/>
                <a:gd name="connsiteY17" fmla="*/ 5994400 h 6096000"/>
                <a:gd name="connsiteX18" fmla="*/ 2235203 w 2235204"/>
                <a:gd name="connsiteY18" fmla="*/ 3787130 h 6096000"/>
                <a:gd name="connsiteX19" fmla="*/ 1971033 w 2235204"/>
                <a:gd name="connsiteY19" fmla="*/ 2524869 h 6096000"/>
                <a:gd name="connsiteX20" fmla="*/ 1685878 w 2235204"/>
                <a:gd name="connsiteY20" fmla="*/ 1872804 h 6096000"/>
                <a:gd name="connsiteX21" fmla="*/ 812802 w 2235204"/>
                <a:gd name="connsiteY21" fmla="*/ 203200 h 6096000"/>
                <a:gd name="connsiteX22" fmla="*/ 1422403 w 2235204"/>
                <a:gd name="connsiteY22" fmla="*/ 203200 h 6096000"/>
                <a:gd name="connsiteX23" fmla="*/ 1422403 w 2235204"/>
                <a:gd name="connsiteY23" fmla="*/ 406400 h 6096000"/>
                <a:gd name="connsiteX24" fmla="*/ 812802 w 2235204"/>
                <a:gd name="connsiteY24" fmla="*/ 406400 h 6096000"/>
                <a:gd name="connsiteX25" fmla="*/ 812802 w 2235204"/>
                <a:gd name="connsiteY25" fmla="*/ 203200 h 6096000"/>
                <a:gd name="connsiteX26" fmla="*/ 2032003 w 2235204"/>
                <a:gd name="connsiteY26" fmla="*/ 5892800 h 6096000"/>
                <a:gd name="connsiteX27" fmla="*/ 203202 w 2235204"/>
                <a:gd name="connsiteY27" fmla="*/ 5892800 h 6096000"/>
                <a:gd name="connsiteX28" fmla="*/ 203202 w 2235204"/>
                <a:gd name="connsiteY28" fmla="*/ 3787130 h 6096000"/>
                <a:gd name="connsiteX29" fmla="*/ 1320803 w 2235204"/>
                <a:gd name="connsiteY29" fmla="*/ 609600 h 6096000"/>
                <a:gd name="connsiteX30" fmla="*/ 1320803 w 2235204"/>
                <a:gd name="connsiteY30" fmla="*/ 1098897 h 6096000"/>
                <a:gd name="connsiteX31" fmla="*/ 1499744 w 2235204"/>
                <a:gd name="connsiteY31" fmla="*/ 1954064 h 6096000"/>
                <a:gd name="connsiteX32" fmla="*/ 1784898 w 2235204"/>
                <a:gd name="connsiteY32" fmla="*/ 2606129 h 6096000"/>
                <a:gd name="connsiteX33" fmla="*/ 2032003 w 2235204"/>
                <a:gd name="connsiteY33" fmla="*/ 3787130 h 6096000"/>
                <a:gd name="connsiteX34" fmla="*/ 2032003 w 2235204"/>
                <a:gd name="connsiteY34" fmla="*/ 5892800 h 6096000"/>
                <a:gd name="connsiteX0" fmla="*/ 1685878 w 2235204"/>
                <a:gd name="connsiteY0" fmla="*/ 1872804 h 6096000"/>
                <a:gd name="connsiteX1" fmla="*/ 1524003 w 2235204"/>
                <a:gd name="connsiteY1" fmla="*/ 1098897 h 6096000"/>
                <a:gd name="connsiteX2" fmla="*/ 1524003 w 2235204"/>
                <a:gd name="connsiteY2" fmla="*/ 609600 h 6096000"/>
                <a:gd name="connsiteX3" fmla="*/ 1625603 w 2235204"/>
                <a:gd name="connsiteY3" fmla="*/ 508000 h 6096000"/>
                <a:gd name="connsiteX4" fmla="*/ 1625603 w 2235204"/>
                <a:gd name="connsiteY4" fmla="*/ 101600 h 6096000"/>
                <a:gd name="connsiteX5" fmla="*/ 1524003 w 2235204"/>
                <a:gd name="connsiteY5" fmla="*/ 0 h 6096000"/>
                <a:gd name="connsiteX6" fmla="*/ 711202 w 2235204"/>
                <a:gd name="connsiteY6" fmla="*/ 0 h 6096000"/>
                <a:gd name="connsiteX7" fmla="*/ 609602 w 2235204"/>
                <a:gd name="connsiteY7" fmla="*/ 101600 h 6096000"/>
                <a:gd name="connsiteX8" fmla="*/ 609602 w 2235204"/>
                <a:gd name="connsiteY8" fmla="*/ 508000 h 6096000"/>
                <a:gd name="connsiteX9" fmla="*/ 711202 w 2235204"/>
                <a:gd name="connsiteY9" fmla="*/ 609600 h 6096000"/>
                <a:gd name="connsiteX10" fmla="*/ 711202 w 2235204"/>
                <a:gd name="connsiteY10" fmla="*/ 1098897 h 6096000"/>
                <a:gd name="connsiteX11" fmla="*/ 549377 w 2235204"/>
                <a:gd name="connsiteY11" fmla="*/ 1872804 h 6096000"/>
                <a:gd name="connsiteX12" fmla="*/ 264172 w 2235204"/>
                <a:gd name="connsiteY12" fmla="*/ 2524869 h 6096000"/>
                <a:gd name="connsiteX13" fmla="*/ 2 w 2235204"/>
                <a:gd name="connsiteY13" fmla="*/ 3787130 h 6096000"/>
                <a:gd name="connsiteX14" fmla="*/ 2 w 2235204"/>
                <a:gd name="connsiteY14" fmla="*/ 5994400 h 6096000"/>
                <a:gd name="connsiteX15" fmla="*/ 101602 w 2235204"/>
                <a:gd name="connsiteY15" fmla="*/ 6096000 h 6096000"/>
                <a:gd name="connsiteX16" fmla="*/ 2133603 w 2235204"/>
                <a:gd name="connsiteY16" fmla="*/ 6096000 h 6096000"/>
                <a:gd name="connsiteX17" fmla="*/ 2235203 w 2235204"/>
                <a:gd name="connsiteY17" fmla="*/ 5994400 h 6096000"/>
                <a:gd name="connsiteX18" fmla="*/ 2235203 w 2235204"/>
                <a:gd name="connsiteY18" fmla="*/ 3787130 h 6096000"/>
                <a:gd name="connsiteX19" fmla="*/ 1971033 w 2235204"/>
                <a:gd name="connsiteY19" fmla="*/ 2524869 h 6096000"/>
                <a:gd name="connsiteX20" fmla="*/ 1685878 w 2235204"/>
                <a:gd name="connsiteY20" fmla="*/ 1872804 h 6096000"/>
                <a:gd name="connsiteX21" fmla="*/ 812802 w 2235204"/>
                <a:gd name="connsiteY21" fmla="*/ 203200 h 6096000"/>
                <a:gd name="connsiteX22" fmla="*/ 1422403 w 2235204"/>
                <a:gd name="connsiteY22" fmla="*/ 203200 h 6096000"/>
                <a:gd name="connsiteX23" fmla="*/ 1422403 w 2235204"/>
                <a:gd name="connsiteY23" fmla="*/ 406400 h 6096000"/>
                <a:gd name="connsiteX24" fmla="*/ 812802 w 2235204"/>
                <a:gd name="connsiteY24" fmla="*/ 406400 h 6096000"/>
                <a:gd name="connsiteX25" fmla="*/ 812802 w 2235204"/>
                <a:gd name="connsiteY25" fmla="*/ 203200 h 6096000"/>
                <a:gd name="connsiteX26" fmla="*/ 2032003 w 2235204"/>
                <a:gd name="connsiteY26" fmla="*/ 5892800 h 6096000"/>
                <a:gd name="connsiteX27" fmla="*/ 203202 w 2235204"/>
                <a:gd name="connsiteY27" fmla="*/ 5892800 h 6096000"/>
                <a:gd name="connsiteX28" fmla="*/ 203202 w 2235204"/>
                <a:gd name="connsiteY28" fmla="*/ 3787130 h 6096000"/>
                <a:gd name="connsiteX29" fmla="*/ 1320803 w 2235204"/>
                <a:gd name="connsiteY29" fmla="*/ 1098897 h 6096000"/>
                <a:gd name="connsiteX30" fmla="*/ 1499744 w 2235204"/>
                <a:gd name="connsiteY30" fmla="*/ 1954064 h 6096000"/>
                <a:gd name="connsiteX31" fmla="*/ 1784898 w 2235204"/>
                <a:gd name="connsiteY31" fmla="*/ 2606129 h 6096000"/>
                <a:gd name="connsiteX32" fmla="*/ 2032003 w 2235204"/>
                <a:gd name="connsiteY32" fmla="*/ 3787130 h 6096000"/>
                <a:gd name="connsiteX33" fmla="*/ 2032003 w 2235204"/>
                <a:gd name="connsiteY33" fmla="*/ 5892800 h 6096000"/>
                <a:gd name="connsiteX0" fmla="*/ 1685878 w 2235204"/>
                <a:gd name="connsiteY0" fmla="*/ 1872804 h 6096000"/>
                <a:gd name="connsiteX1" fmla="*/ 1524003 w 2235204"/>
                <a:gd name="connsiteY1" fmla="*/ 1098897 h 6096000"/>
                <a:gd name="connsiteX2" fmla="*/ 1524003 w 2235204"/>
                <a:gd name="connsiteY2" fmla="*/ 609600 h 6096000"/>
                <a:gd name="connsiteX3" fmla="*/ 1625603 w 2235204"/>
                <a:gd name="connsiteY3" fmla="*/ 508000 h 6096000"/>
                <a:gd name="connsiteX4" fmla="*/ 1625603 w 2235204"/>
                <a:gd name="connsiteY4" fmla="*/ 101600 h 6096000"/>
                <a:gd name="connsiteX5" fmla="*/ 1524003 w 2235204"/>
                <a:gd name="connsiteY5" fmla="*/ 0 h 6096000"/>
                <a:gd name="connsiteX6" fmla="*/ 711202 w 2235204"/>
                <a:gd name="connsiteY6" fmla="*/ 0 h 6096000"/>
                <a:gd name="connsiteX7" fmla="*/ 609602 w 2235204"/>
                <a:gd name="connsiteY7" fmla="*/ 101600 h 6096000"/>
                <a:gd name="connsiteX8" fmla="*/ 609602 w 2235204"/>
                <a:gd name="connsiteY8" fmla="*/ 508000 h 6096000"/>
                <a:gd name="connsiteX9" fmla="*/ 711202 w 2235204"/>
                <a:gd name="connsiteY9" fmla="*/ 609600 h 6096000"/>
                <a:gd name="connsiteX10" fmla="*/ 711202 w 2235204"/>
                <a:gd name="connsiteY10" fmla="*/ 1098897 h 6096000"/>
                <a:gd name="connsiteX11" fmla="*/ 549377 w 2235204"/>
                <a:gd name="connsiteY11" fmla="*/ 1872804 h 6096000"/>
                <a:gd name="connsiteX12" fmla="*/ 264172 w 2235204"/>
                <a:gd name="connsiteY12" fmla="*/ 2524869 h 6096000"/>
                <a:gd name="connsiteX13" fmla="*/ 2 w 2235204"/>
                <a:gd name="connsiteY13" fmla="*/ 3787130 h 6096000"/>
                <a:gd name="connsiteX14" fmla="*/ 2 w 2235204"/>
                <a:gd name="connsiteY14" fmla="*/ 5994400 h 6096000"/>
                <a:gd name="connsiteX15" fmla="*/ 101602 w 2235204"/>
                <a:gd name="connsiteY15" fmla="*/ 6096000 h 6096000"/>
                <a:gd name="connsiteX16" fmla="*/ 2133603 w 2235204"/>
                <a:gd name="connsiteY16" fmla="*/ 6096000 h 6096000"/>
                <a:gd name="connsiteX17" fmla="*/ 2235203 w 2235204"/>
                <a:gd name="connsiteY17" fmla="*/ 5994400 h 6096000"/>
                <a:gd name="connsiteX18" fmla="*/ 2235203 w 2235204"/>
                <a:gd name="connsiteY18" fmla="*/ 3787130 h 6096000"/>
                <a:gd name="connsiteX19" fmla="*/ 1971033 w 2235204"/>
                <a:gd name="connsiteY19" fmla="*/ 2524869 h 6096000"/>
                <a:gd name="connsiteX20" fmla="*/ 1685878 w 2235204"/>
                <a:gd name="connsiteY20" fmla="*/ 1872804 h 6096000"/>
                <a:gd name="connsiteX21" fmla="*/ 812802 w 2235204"/>
                <a:gd name="connsiteY21" fmla="*/ 203200 h 6096000"/>
                <a:gd name="connsiteX22" fmla="*/ 1422403 w 2235204"/>
                <a:gd name="connsiteY22" fmla="*/ 203200 h 6096000"/>
                <a:gd name="connsiteX23" fmla="*/ 1422403 w 2235204"/>
                <a:gd name="connsiteY23" fmla="*/ 406400 h 6096000"/>
                <a:gd name="connsiteX24" fmla="*/ 812802 w 2235204"/>
                <a:gd name="connsiteY24" fmla="*/ 406400 h 6096000"/>
                <a:gd name="connsiteX25" fmla="*/ 812802 w 2235204"/>
                <a:gd name="connsiteY25" fmla="*/ 203200 h 6096000"/>
                <a:gd name="connsiteX26" fmla="*/ 2032003 w 2235204"/>
                <a:gd name="connsiteY26" fmla="*/ 5892800 h 6096000"/>
                <a:gd name="connsiteX27" fmla="*/ 203202 w 2235204"/>
                <a:gd name="connsiteY27" fmla="*/ 5892800 h 6096000"/>
                <a:gd name="connsiteX28" fmla="*/ 203202 w 2235204"/>
                <a:gd name="connsiteY28" fmla="*/ 3787130 h 6096000"/>
                <a:gd name="connsiteX29" fmla="*/ 1312889 w 2235204"/>
                <a:gd name="connsiteY29" fmla="*/ 1138459 h 6096000"/>
                <a:gd name="connsiteX30" fmla="*/ 1499744 w 2235204"/>
                <a:gd name="connsiteY30" fmla="*/ 1954064 h 6096000"/>
                <a:gd name="connsiteX31" fmla="*/ 1784898 w 2235204"/>
                <a:gd name="connsiteY31" fmla="*/ 2606129 h 6096000"/>
                <a:gd name="connsiteX32" fmla="*/ 2032003 w 2235204"/>
                <a:gd name="connsiteY32" fmla="*/ 3787130 h 6096000"/>
                <a:gd name="connsiteX33" fmla="*/ 2032003 w 2235204"/>
                <a:gd name="connsiteY33" fmla="*/ 5892800 h 6096000"/>
                <a:gd name="connsiteX0" fmla="*/ 1685878 w 2235204"/>
                <a:gd name="connsiteY0" fmla="*/ 1872804 h 6096000"/>
                <a:gd name="connsiteX1" fmla="*/ 1524003 w 2235204"/>
                <a:gd name="connsiteY1" fmla="*/ 1098897 h 6096000"/>
                <a:gd name="connsiteX2" fmla="*/ 1524003 w 2235204"/>
                <a:gd name="connsiteY2" fmla="*/ 609600 h 6096000"/>
                <a:gd name="connsiteX3" fmla="*/ 1625603 w 2235204"/>
                <a:gd name="connsiteY3" fmla="*/ 508000 h 6096000"/>
                <a:gd name="connsiteX4" fmla="*/ 1625603 w 2235204"/>
                <a:gd name="connsiteY4" fmla="*/ 101600 h 6096000"/>
                <a:gd name="connsiteX5" fmla="*/ 1524003 w 2235204"/>
                <a:gd name="connsiteY5" fmla="*/ 0 h 6096000"/>
                <a:gd name="connsiteX6" fmla="*/ 711202 w 2235204"/>
                <a:gd name="connsiteY6" fmla="*/ 0 h 6096000"/>
                <a:gd name="connsiteX7" fmla="*/ 609602 w 2235204"/>
                <a:gd name="connsiteY7" fmla="*/ 101600 h 6096000"/>
                <a:gd name="connsiteX8" fmla="*/ 609602 w 2235204"/>
                <a:gd name="connsiteY8" fmla="*/ 508000 h 6096000"/>
                <a:gd name="connsiteX9" fmla="*/ 711202 w 2235204"/>
                <a:gd name="connsiteY9" fmla="*/ 609600 h 6096000"/>
                <a:gd name="connsiteX10" fmla="*/ 711202 w 2235204"/>
                <a:gd name="connsiteY10" fmla="*/ 1098897 h 6096000"/>
                <a:gd name="connsiteX11" fmla="*/ 549377 w 2235204"/>
                <a:gd name="connsiteY11" fmla="*/ 1872804 h 6096000"/>
                <a:gd name="connsiteX12" fmla="*/ 264172 w 2235204"/>
                <a:gd name="connsiteY12" fmla="*/ 2524869 h 6096000"/>
                <a:gd name="connsiteX13" fmla="*/ 2 w 2235204"/>
                <a:gd name="connsiteY13" fmla="*/ 3787130 h 6096000"/>
                <a:gd name="connsiteX14" fmla="*/ 2 w 2235204"/>
                <a:gd name="connsiteY14" fmla="*/ 5994400 h 6096000"/>
                <a:gd name="connsiteX15" fmla="*/ 101602 w 2235204"/>
                <a:gd name="connsiteY15" fmla="*/ 6096000 h 6096000"/>
                <a:gd name="connsiteX16" fmla="*/ 2133603 w 2235204"/>
                <a:gd name="connsiteY16" fmla="*/ 6096000 h 6096000"/>
                <a:gd name="connsiteX17" fmla="*/ 2235203 w 2235204"/>
                <a:gd name="connsiteY17" fmla="*/ 5994400 h 6096000"/>
                <a:gd name="connsiteX18" fmla="*/ 2235203 w 2235204"/>
                <a:gd name="connsiteY18" fmla="*/ 3787130 h 6096000"/>
                <a:gd name="connsiteX19" fmla="*/ 1971033 w 2235204"/>
                <a:gd name="connsiteY19" fmla="*/ 2524869 h 6096000"/>
                <a:gd name="connsiteX20" fmla="*/ 1685878 w 2235204"/>
                <a:gd name="connsiteY20" fmla="*/ 1872804 h 6096000"/>
                <a:gd name="connsiteX21" fmla="*/ 812802 w 2235204"/>
                <a:gd name="connsiteY21" fmla="*/ 203200 h 6096000"/>
                <a:gd name="connsiteX22" fmla="*/ 1422403 w 2235204"/>
                <a:gd name="connsiteY22" fmla="*/ 203200 h 6096000"/>
                <a:gd name="connsiteX23" fmla="*/ 1422403 w 2235204"/>
                <a:gd name="connsiteY23" fmla="*/ 406400 h 6096000"/>
                <a:gd name="connsiteX24" fmla="*/ 812802 w 2235204"/>
                <a:gd name="connsiteY24" fmla="*/ 406400 h 6096000"/>
                <a:gd name="connsiteX25" fmla="*/ 812802 w 2235204"/>
                <a:gd name="connsiteY25" fmla="*/ 203200 h 6096000"/>
                <a:gd name="connsiteX26" fmla="*/ 2032003 w 2235204"/>
                <a:gd name="connsiteY26" fmla="*/ 5892800 h 6096000"/>
                <a:gd name="connsiteX27" fmla="*/ 203202 w 2235204"/>
                <a:gd name="connsiteY27" fmla="*/ 5892800 h 6096000"/>
                <a:gd name="connsiteX28" fmla="*/ 203202 w 2235204"/>
                <a:gd name="connsiteY28" fmla="*/ 3787130 h 6096000"/>
                <a:gd name="connsiteX29" fmla="*/ 1499744 w 2235204"/>
                <a:gd name="connsiteY29" fmla="*/ 1954064 h 6096000"/>
                <a:gd name="connsiteX30" fmla="*/ 1784898 w 2235204"/>
                <a:gd name="connsiteY30" fmla="*/ 2606129 h 6096000"/>
                <a:gd name="connsiteX31" fmla="*/ 2032003 w 2235204"/>
                <a:gd name="connsiteY31" fmla="*/ 3787130 h 6096000"/>
                <a:gd name="connsiteX32" fmla="*/ 2032003 w 2235204"/>
                <a:gd name="connsiteY32" fmla="*/ 5892800 h 60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235204" h="6096000">
                  <a:moveTo>
                    <a:pt x="1685878" y="1872804"/>
                  </a:moveTo>
                  <a:cubicBezTo>
                    <a:pt x="1578821" y="1628825"/>
                    <a:pt x="1523705" y="1365300"/>
                    <a:pt x="1524003" y="1098897"/>
                  </a:cubicBezTo>
                  <a:lnTo>
                    <a:pt x="1524003" y="609600"/>
                  </a:lnTo>
                  <a:cubicBezTo>
                    <a:pt x="1580111" y="609600"/>
                    <a:pt x="1625603" y="564108"/>
                    <a:pt x="1625603" y="508000"/>
                  </a:cubicBezTo>
                  <a:lnTo>
                    <a:pt x="1625603" y="101600"/>
                  </a:lnTo>
                  <a:cubicBezTo>
                    <a:pt x="1625603" y="45492"/>
                    <a:pt x="1580111" y="0"/>
                    <a:pt x="1524003" y="0"/>
                  </a:cubicBezTo>
                  <a:lnTo>
                    <a:pt x="711202" y="0"/>
                  </a:lnTo>
                  <a:cubicBezTo>
                    <a:pt x="655094" y="0"/>
                    <a:pt x="609602" y="45492"/>
                    <a:pt x="609602" y="101600"/>
                  </a:cubicBezTo>
                  <a:lnTo>
                    <a:pt x="609602" y="508000"/>
                  </a:lnTo>
                  <a:cubicBezTo>
                    <a:pt x="609602" y="564108"/>
                    <a:pt x="655094" y="609600"/>
                    <a:pt x="711202" y="609600"/>
                  </a:cubicBezTo>
                  <a:lnTo>
                    <a:pt x="711202" y="1098897"/>
                  </a:lnTo>
                  <a:cubicBezTo>
                    <a:pt x="711500" y="1365300"/>
                    <a:pt x="656384" y="1628825"/>
                    <a:pt x="549377" y="1872804"/>
                  </a:cubicBezTo>
                  <a:lnTo>
                    <a:pt x="264172" y="2524869"/>
                  </a:lnTo>
                  <a:cubicBezTo>
                    <a:pt x="89448" y="2922736"/>
                    <a:pt x="-543" y="3352602"/>
                    <a:pt x="2" y="3787130"/>
                  </a:cubicBezTo>
                  <a:lnTo>
                    <a:pt x="2" y="5994400"/>
                  </a:lnTo>
                  <a:cubicBezTo>
                    <a:pt x="2" y="6050508"/>
                    <a:pt x="45494" y="6096000"/>
                    <a:pt x="101602" y="6096000"/>
                  </a:cubicBezTo>
                  <a:lnTo>
                    <a:pt x="2133603" y="6096000"/>
                  </a:lnTo>
                  <a:cubicBezTo>
                    <a:pt x="2189711" y="6096000"/>
                    <a:pt x="2235203" y="6050508"/>
                    <a:pt x="2235203" y="5994400"/>
                  </a:cubicBezTo>
                  <a:lnTo>
                    <a:pt x="2235203" y="3787130"/>
                  </a:lnTo>
                  <a:cubicBezTo>
                    <a:pt x="2235748" y="3352602"/>
                    <a:pt x="2145806" y="2922736"/>
                    <a:pt x="1971033" y="2524869"/>
                  </a:cubicBezTo>
                  <a:lnTo>
                    <a:pt x="1685878" y="1872804"/>
                  </a:lnTo>
                  <a:close/>
                  <a:moveTo>
                    <a:pt x="812802" y="203200"/>
                  </a:moveTo>
                  <a:lnTo>
                    <a:pt x="1422403" y="203200"/>
                  </a:lnTo>
                  <a:lnTo>
                    <a:pt x="1422403" y="406400"/>
                  </a:lnTo>
                  <a:lnTo>
                    <a:pt x="812802" y="406400"/>
                  </a:lnTo>
                  <a:lnTo>
                    <a:pt x="812802" y="203200"/>
                  </a:lnTo>
                  <a:close/>
                  <a:moveTo>
                    <a:pt x="2032003" y="5892800"/>
                  </a:moveTo>
                  <a:lnTo>
                    <a:pt x="203202" y="5892800"/>
                  </a:lnTo>
                  <a:lnTo>
                    <a:pt x="203202" y="3787130"/>
                  </a:lnTo>
                  <a:cubicBezTo>
                    <a:pt x="419292" y="3130674"/>
                    <a:pt x="1236128" y="2150897"/>
                    <a:pt x="1499744" y="1954064"/>
                  </a:cubicBezTo>
                  <a:lnTo>
                    <a:pt x="1784898" y="2606129"/>
                  </a:lnTo>
                  <a:cubicBezTo>
                    <a:pt x="1948361" y="2978398"/>
                    <a:pt x="2032499" y="3380581"/>
                    <a:pt x="2032003" y="3787130"/>
                  </a:cubicBezTo>
                  <a:lnTo>
                    <a:pt x="2032003" y="5892800"/>
                  </a:lnTo>
                  <a:close/>
                </a:path>
              </a:pathLst>
            </a:custGeom>
            <a:solidFill>
              <a:srgbClr val="22777B"/>
            </a:solidFill>
            <a:ln w="12700" cap="flat">
              <a:noFill/>
              <a:prstDash val="solid"/>
              <a:miter/>
            </a:ln>
          </p:spPr>
          <p:txBody>
            <a:bodyPr rtlCol="0" anchor="ctr"/>
            <a:lstStyle/>
            <a:p>
              <a:endParaRPr lang="nl-NL" dirty="0"/>
            </a:p>
          </p:txBody>
        </p:sp>
      </p:grpSp>
      <p:sp>
        <p:nvSpPr>
          <p:cNvPr id="6" name="Title 5">
            <a:extLst>
              <a:ext uri="{FF2B5EF4-FFF2-40B4-BE49-F238E27FC236}">
                <a16:creationId xmlns:a16="http://schemas.microsoft.com/office/drawing/2014/main" id="{C45F0CBA-0FF5-4054-AB9D-22FA25197988}"/>
              </a:ext>
            </a:extLst>
          </p:cNvPr>
          <p:cNvSpPr>
            <a:spLocks noGrp="1"/>
          </p:cNvSpPr>
          <p:nvPr>
            <p:ph type="title"/>
          </p:nvPr>
        </p:nvSpPr>
        <p:spPr/>
        <p:txBody>
          <a:bodyPr vert="horz" lIns="36000" rIns="36000"/>
          <a:lstStyle/>
          <a:p>
            <a:r>
              <a:rPr lang="nl-NL" dirty="0"/>
              <a:t>Case interviews zijn belangrijk onderdeel van het sollicitatieproces van It’s Public</a:t>
            </a:r>
          </a:p>
        </p:txBody>
      </p:sp>
      <p:sp>
        <p:nvSpPr>
          <p:cNvPr id="7" name="Freeform: Shape 6">
            <a:extLst>
              <a:ext uri="{FF2B5EF4-FFF2-40B4-BE49-F238E27FC236}">
                <a16:creationId xmlns:a16="http://schemas.microsoft.com/office/drawing/2014/main" id="{55777506-5CD9-4BA2-8D1C-61CAB95AF067}"/>
              </a:ext>
            </a:extLst>
          </p:cNvPr>
          <p:cNvSpPr/>
          <p:nvPr/>
        </p:nvSpPr>
        <p:spPr>
          <a:xfrm>
            <a:off x="876300" y="2409975"/>
            <a:ext cx="8216438" cy="372747"/>
          </a:xfrm>
          <a:custGeom>
            <a:avLst/>
            <a:gdLst>
              <a:gd name="connsiteX0" fmla="*/ 0 w 9456420"/>
              <a:gd name="connsiteY0" fmla="*/ 399160 h 604373"/>
              <a:gd name="connsiteX1" fmla="*/ 2682240 w 9456420"/>
              <a:gd name="connsiteY1" fmla="*/ 2920 h 604373"/>
              <a:gd name="connsiteX2" fmla="*/ 7330440 w 9456420"/>
              <a:gd name="connsiteY2" fmla="*/ 582040 h 604373"/>
              <a:gd name="connsiteX3" fmla="*/ 9456420 w 9456420"/>
              <a:gd name="connsiteY3" fmla="*/ 429640 h 604373"/>
              <a:gd name="connsiteX0" fmla="*/ 0 w 9701807"/>
              <a:gd name="connsiteY0" fmla="*/ 399160 h 596919"/>
              <a:gd name="connsiteX1" fmla="*/ 2682240 w 9701807"/>
              <a:gd name="connsiteY1" fmla="*/ 2920 h 596919"/>
              <a:gd name="connsiteX2" fmla="*/ 7330440 w 9701807"/>
              <a:gd name="connsiteY2" fmla="*/ 582040 h 596919"/>
              <a:gd name="connsiteX3" fmla="*/ 9701807 w 9701807"/>
              <a:gd name="connsiteY3" fmla="*/ 340477 h 596919"/>
              <a:gd name="connsiteX0" fmla="*/ 0 w 9701807"/>
              <a:gd name="connsiteY0" fmla="*/ 399160 h 599707"/>
              <a:gd name="connsiteX1" fmla="*/ 2682240 w 9701807"/>
              <a:gd name="connsiteY1" fmla="*/ 2920 h 599707"/>
              <a:gd name="connsiteX2" fmla="*/ 7330440 w 9701807"/>
              <a:gd name="connsiteY2" fmla="*/ 582040 h 599707"/>
              <a:gd name="connsiteX3" fmla="*/ 9701807 w 9701807"/>
              <a:gd name="connsiteY3" fmla="*/ 340477 h 599707"/>
            </a:gdLst>
            <a:ahLst/>
            <a:cxnLst>
              <a:cxn ang="0">
                <a:pos x="connsiteX0" y="connsiteY0"/>
              </a:cxn>
              <a:cxn ang="0">
                <a:pos x="connsiteX1" y="connsiteY1"/>
              </a:cxn>
              <a:cxn ang="0">
                <a:pos x="connsiteX2" y="connsiteY2"/>
              </a:cxn>
              <a:cxn ang="0">
                <a:pos x="connsiteX3" y="connsiteY3"/>
              </a:cxn>
            </a:cxnLst>
            <a:rect l="l" t="t" r="r" b="b"/>
            <a:pathLst>
              <a:path w="9701807" h="599707">
                <a:moveTo>
                  <a:pt x="0" y="399160"/>
                </a:moveTo>
                <a:cubicBezTo>
                  <a:pt x="730250" y="185800"/>
                  <a:pt x="1460500" y="-27560"/>
                  <a:pt x="2682240" y="2920"/>
                </a:cubicBezTo>
                <a:cubicBezTo>
                  <a:pt x="3903980" y="33400"/>
                  <a:pt x="6201410" y="510920"/>
                  <a:pt x="7330440" y="582040"/>
                </a:cubicBezTo>
                <a:cubicBezTo>
                  <a:pt x="8459470" y="653160"/>
                  <a:pt x="9137896" y="496817"/>
                  <a:pt x="9701807" y="340477"/>
                </a:cubicBezTo>
              </a:path>
            </a:pathLst>
          </a:custGeom>
          <a:noFill/>
          <a:ln w="57150">
            <a:solidFill>
              <a:srgbClr val="22777B"/>
            </a:solidFill>
            <a:headEnd type="none" w="med" len="med"/>
            <a:tailEnd type="triangle" w="med" len="med"/>
          </a:ln>
        </p:spPr>
        <p:txBody>
          <a:bodyPr rtlCol="0" anchor="ctr"/>
          <a:lstStyle/>
          <a:p>
            <a:pPr algn="ctr"/>
            <a:endParaRPr lang="nl-NL" dirty="0"/>
          </a:p>
        </p:txBody>
      </p:sp>
      <p:sp>
        <p:nvSpPr>
          <p:cNvPr id="8" name="Oval 7">
            <a:extLst>
              <a:ext uri="{FF2B5EF4-FFF2-40B4-BE49-F238E27FC236}">
                <a16:creationId xmlns:a16="http://schemas.microsoft.com/office/drawing/2014/main" id="{F2122131-9137-4034-B01C-33B778603AAB}"/>
              </a:ext>
            </a:extLst>
          </p:cNvPr>
          <p:cNvSpPr/>
          <p:nvPr/>
        </p:nvSpPr>
        <p:spPr>
          <a:xfrm>
            <a:off x="1569720" y="2216724"/>
            <a:ext cx="502920" cy="502920"/>
          </a:xfrm>
          <a:prstGeom prst="ellipse">
            <a:avLst/>
          </a:prstGeom>
          <a:solidFill>
            <a:srgbClr val="95C5C9"/>
          </a:solidFill>
          <a:ln w="38100">
            <a:solidFill>
              <a:srgbClr val="FFFFFF"/>
            </a:solidFill>
          </a:ln>
        </p:spPr>
        <p:txBody>
          <a:bodyPr lIns="72000" rIns="7200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2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0</a:t>
            </a:r>
          </a:p>
        </p:txBody>
      </p:sp>
      <p:sp>
        <p:nvSpPr>
          <p:cNvPr id="9" name="Content Placeholder 3">
            <a:extLst>
              <a:ext uri="{FF2B5EF4-FFF2-40B4-BE49-F238E27FC236}">
                <a16:creationId xmlns:a16="http://schemas.microsoft.com/office/drawing/2014/main" id="{6927BC67-8B3C-4821-9395-60846CDA8854}"/>
              </a:ext>
            </a:extLst>
          </p:cNvPr>
          <p:cNvSpPr txBox="1">
            <a:spLocks/>
          </p:cNvSpPr>
          <p:nvPr/>
        </p:nvSpPr>
        <p:spPr>
          <a:xfrm>
            <a:off x="897252" y="3180125"/>
            <a:ext cx="2099948" cy="2260219"/>
          </a:xfrm>
          <a:prstGeom prst="rect">
            <a:avLst/>
          </a:prstGeom>
        </p:spPr>
        <p:txBody>
          <a:bodyPr lIns="72000" tIns="72000" rIns="72000" bIns="72000"/>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lvl="1" indent="0" algn="ctr" fontAlgn="auto">
              <a:spcAft>
                <a:spcPts val="0"/>
              </a:spcAft>
              <a:buNone/>
            </a:pPr>
            <a:r>
              <a:rPr lang="nl-NL" sz="2000" b="1" dirty="0"/>
              <a:t>Solliciteer </a:t>
            </a:r>
            <a:r>
              <a:rPr lang="nl-NL" sz="2000" dirty="0"/>
              <a:t>via de website. Beantwoord de vragen en stuur (geanonimiseerd) CV en cijferlijst</a:t>
            </a:r>
            <a:endParaRPr lang="nl-NL" sz="2000" i="1" dirty="0"/>
          </a:p>
          <a:p>
            <a:pPr algn="ctr" fontAlgn="auto">
              <a:spcAft>
                <a:spcPts val="0"/>
              </a:spcAft>
            </a:pPr>
            <a:endParaRPr lang="nl-NL" sz="2000" dirty="0"/>
          </a:p>
        </p:txBody>
      </p:sp>
      <p:sp>
        <p:nvSpPr>
          <p:cNvPr id="10" name="Oval 9">
            <a:extLst>
              <a:ext uri="{FF2B5EF4-FFF2-40B4-BE49-F238E27FC236}">
                <a16:creationId xmlns:a16="http://schemas.microsoft.com/office/drawing/2014/main" id="{1204D987-EA26-429A-B0A0-A8C9EB83C0DE}"/>
              </a:ext>
            </a:extLst>
          </p:cNvPr>
          <p:cNvSpPr/>
          <p:nvPr/>
        </p:nvSpPr>
        <p:spPr>
          <a:xfrm>
            <a:off x="4396740" y="2306066"/>
            <a:ext cx="502920" cy="502920"/>
          </a:xfrm>
          <a:prstGeom prst="ellipse">
            <a:avLst/>
          </a:prstGeom>
          <a:solidFill>
            <a:srgbClr val="95C5C9"/>
          </a:solidFill>
          <a:ln w="38100">
            <a:solidFill>
              <a:srgbClr val="FFFFFF"/>
            </a:solidFill>
          </a:ln>
        </p:spPr>
        <p:txBody>
          <a:bodyPr lIns="72000" rIns="7200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2000" b="1" i="0" u="none" strike="noStrike" kern="1200" cap="none" spc="0" normalizeH="0" baseline="0" noProof="0">
                <a:ln>
                  <a:noFill/>
                </a:ln>
                <a:solidFill>
                  <a:schemeClr val="bg1"/>
                </a:solidFill>
                <a:effectLst/>
                <a:uLnTx/>
                <a:uFillTx/>
                <a:latin typeface="Corbel" panose="020B0503020204020204" pitchFamily="34" charset="0"/>
                <a:ea typeface="+mn-ea"/>
                <a:cs typeface="+mn-cs"/>
              </a:rPr>
              <a:t>1</a:t>
            </a:r>
            <a:endParaRPr kumimoji="0" lang="nl-NL" sz="2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1" name="Content Placeholder 3">
            <a:extLst>
              <a:ext uri="{FF2B5EF4-FFF2-40B4-BE49-F238E27FC236}">
                <a16:creationId xmlns:a16="http://schemas.microsoft.com/office/drawing/2014/main" id="{146362AE-3DDE-44D6-85F3-9D73070B5CC8}"/>
              </a:ext>
            </a:extLst>
          </p:cNvPr>
          <p:cNvSpPr txBox="1">
            <a:spLocks/>
          </p:cNvSpPr>
          <p:nvPr/>
        </p:nvSpPr>
        <p:spPr>
          <a:xfrm>
            <a:off x="3439476" y="3180125"/>
            <a:ext cx="2424432" cy="2260219"/>
          </a:xfrm>
          <a:prstGeom prst="rect">
            <a:avLst/>
          </a:prstGeom>
        </p:spPr>
        <p:txBody>
          <a:bodyPr lIns="72000" tIns="72000" rIns="72000" bIns="72000"/>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lvl="1" indent="0" algn="ctr" fontAlgn="auto">
              <a:spcAft>
                <a:spcPts val="0"/>
              </a:spcAft>
              <a:buNone/>
            </a:pPr>
            <a:r>
              <a:rPr lang="nl-NL" sz="2000" b="1" dirty="0"/>
              <a:t>Eerste ronde: </a:t>
            </a:r>
            <a:br>
              <a:rPr lang="nl-NL" sz="2000" b="1" dirty="0"/>
            </a:br>
            <a:r>
              <a:rPr lang="nl-NL" sz="2000" dirty="0"/>
              <a:t>één gesprek, case interview </a:t>
            </a:r>
            <a:br>
              <a:rPr lang="nl-NL" sz="2000" dirty="0"/>
            </a:br>
            <a:r>
              <a:rPr lang="nl-NL" sz="2000" dirty="0"/>
              <a:t>&amp; assessment (</a:t>
            </a:r>
            <a:r>
              <a:rPr lang="nl-NL" sz="2000" i="1" dirty="0"/>
              <a:t>‘begrijpend rekenen’</a:t>
            </a:r>
            <a:r>
              <a:rPr lang="nl-NL" sz="2000" dirty="0"/>
              <a:t>)</a:t>
            </a:r>
          </a:p>
        </p:txBody>
      </p:sp>
      <p:sp>
        <p:nvSpPr>
          <p:cNvPr id="12" name="Oval 11">
            <a:extLst>
              <a:ext uri="{FF2B5EF4-FFF2-40B4-BE49-F238E27FC236}">
                <a16:creationId xmlns:a16="http://schemas.microsoft.com/office/drawing/2014/main" id="{8AAE6404-1A49-40EF-B491-B4FCD08FE522}"/>
              </a:ext>
            </a:extLst>
          </p:cNvPr>
          <p:cNvSpPr/>
          <p:nvPr/>
        </p:nvSpPr>
        <p:spPr>
          <a:xfrm>
            <a:off x="7132320" y="2521192"/>
            <a:ext cx="502920" cy="502920"/>
          </a:xfrm>
          <a:prstGeom prst="ellipse">
            <a:avLst/>
          </a:prstGeom>
          <a:solidFill>
            <a:srgbClr val="95C5C9"/>
          </a:solidFill>
          <a:ln w="38100">
            <a:solidFill>
              <a:srgbClr val="FFFFFF"/>
            </a:solidFill>
          </a:ln>
        </p:spPr>
        <p:txBody>
          <a:bodyPr lIns="72000" rIns="7200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2000" b="1" i="0" u="none" strike="noStrike" kern="1200" cap="none" spc="0" normalizeH="0" baseline="0" noProof="0">
                <a:ln>
                  <a:noFill/>
                </a:ln>
                <a:solidFill>
                  <a:schemeClr val="bg1"/>
                </a:solidFill>
                <a:effectLst/>
                <a:uLnTx/>
                <a:uFillTx/>
                <a:latin typeface="Corbel" panose="020B0503020204020204" pitchFamily="34" charset="0"/>
                <a:ea typeface="+mn-ea"/>
                <a:cs typeface="+mn-cs"/>
              </a:rPr>
              <a:t>2</a:t>
            </a:r>
            <a:endParaRPr kumimoji="0" lang="nl-NL" sz="2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3" name="Content Placeholder 3">
            <a:extLst>
              <a:ext uri="{FF2B5EF4-FFF2-40B4-BE49-F238E27FC236}">
                <a16:creationId xmlns:a16="http://schemas.microsoft.com/office/drawing/2014/main" id="{7330D0AD-4C1A-42D0-9E9B-9BCC58280629}"/>
              </a:ext>
            </a:extLst>
          </p:cNvPr>
          <p:cNvSpPr txBox="1">
            <a:spLocks/>
          </p:cNvSpPr>
          <p:nvPr/>
        </p:nvSpPr>
        <p:spPr>
          <a:xfrm>
            <a:off x="6325524" y="3180125"/>
            <a:ext cx="2116512" cy="2260219"/>
          </a:xfrm>
          <a:prstGeom prst="rect">
            <a:avLst/>
          </a:prstGeom>
        </p:spPr>
        <p:txBody>
          <a:bodyPr lIns="72000" tIns="72000" rIns="72000" bIns="72000"/>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lvl="1" indent="0" algn="ctr" fontAlgn="auto">
              <a:spcAft>
                <a:spcPts val="0"/>
              </a:spcAft>
              <a:buNone/>
            </a:pPr>
            <a:r>
              <a:rPr lang="nl-NL" sz="2000" b="1" dirty="0"/>
              <a:t>Tweede ronde:</a:t>
            </a:r>
            <a:br>
              <a:rPr lang="nl-NL" sz="2000" b="1" dirty="0"/>
            </a:br>
            <a:r>
              <a:rPr lang="nl-NL" sz="2000" dirty="0"/>
              <a:t>twee gesprekken en case interviews</a:t>
            </a:r>
          </a:p>
        </p:txBody>
      </p:sp>
      <p:sp>
        <p:nvSpPr>
          <p:cNvPr id="14" name="Content Placeholder 3">
            <a:extLst>
              <a:ext uri="{FF2B5EF4-FFF2-40B4-BE49-F238E27FC236}">
                <a16:creationId xmlns:a16="http://schemas.microsoft.com/office/drawing/2014/main" id="{5F684E64-2C2A-4296-944C-3F7B4D841FC6}"/>
              </a:ext>
            </a:extLst>
          </p:cNvPr>
          <p:cNvSpPr txBox="1">
            <a:spLocks/>
          </p:cNvSpPr>
          <p:nvPr/>
        </p:nvSpPr>
        <p:spPr>
          <a:xfrm>
            <a:off x="8942362" y="3180125"/>
            <a:ext cx="1916432" cy="2173967"/>
          </a:xfrm>
          <a:prstGeom prst="rect">
            <a:avLst/>
          </a:prstGeom>
        </p:spPr>
        <p:txBody>
          <a:bodyPr lIns="72000" tIns="72000" rIns="72000" bIns="72000"/>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lvl="1" indent="0" algn="ctr" fontAlgn="auto">
              <a:spcAft>
                <a:spcPts val="0"/>
              </a:spcAft>
              <a:buNone/>
            </a:pPr>
            <a:r>
              <a:rPr lang="nl-NL" sz="2000" dirty="0"/>
              <a:t>Je ontvangt een </a:t>
            </a:r>
            <a:r>
              <a:rPr lang="nl-NL" sz="2000" b="1" dirty="0"/>
              <a:t>aanbieding</a:t>
            </a:r>
            <a:r>
              <a:rPr lang="nl-NL" sz="2000" dirty="0"/>
              <a:t> om </a:t>
            </a:r>
            <a:br>
              <a:rPr lang="nl-NL" sz="2000" dirty="0"/>
            </a:br>
            <a:r>
              <a:rPr lang="nl-NL" sz="2000" dirty="0"/>
              <a:t>ons te komen ondersteunen met de wereld verbeteren!</a:t>
            </a:r>
          </a:p>
        </p:txBody>
      </p:sp>
      <p:sp>
        <p:nvSpPr>
          <p:cNvPr id="16" name="TextBox 15">
            <a:extLst>
              <a:ext uri="{FF2B5EF4-FFF2-40B4-BE49-F238E27FC236}">
                <a16:creationId xmlns:a16="http://schemas.microsoft.com/office/drawing/2014/main" id="{9518E219-4857-4EBD-859A-235263AF649E}"/>
              </a:ext>
            </a:extLst>
          </p:cNvPr>
          <p:cNvSpPr txBox="1"/>
          <p:nvPr/>
        </p:nvSpPr>
        <p:spPr>
          <a:xfrm>
            <a:off x="658813" y="1196975"/>
            <a:ext cx="10874375" cy="395288"/>
          </a:xfrm>
          <a:prstGeom prst="rect">
            <a:avLst/>
          </a:prstGeom>
        </p:spPr>
        <p:txBody>
          <a:bodyPr vert="horz" lIns="36000" tIns="45720" rIns="36000" bIns="45720" rtlCol="0" anchor="b">
            <a:noAutofit/>
          </a:bodyPr>
          <a:lstStyle>
            <a:lvl1pPr defTabSz="685800" eaLnBrk="1" latinLnBrk="0" hangingPunct="1">
              <a:lnSpc>
                <a:spcPct val="90000"/>
              </a:lnSpc>
              <a:buNone/>
              <a:defRPr sz="2800" b="1">
                <a:solidFill>
                  <a:schemeClr val="tx2"/>
                </a:solidFill>
                <a:latin typeface="Corbel" panose="020B0503020204020204" pitchFamily="34" charset="0"/>
                <a:ea typeface="+mj-ea"/>
                <a:cs typeface="+mj-cs"/>
              </a:defRPr>
            </a:lvl1pPr>
          </a:lstStyle>
          <a:p>
            <a:r>
              <a:rPr lang="nl-NL" sz="1600" dirty="0">
                <a:solidFill>
                  <a:schemeClr val="tx1"/>
                </a:solidFill>
              </a:rPr>
              <a:t>Sollicitatieproces beginnende adviseurs</a:t>
            </a:r>
          </a:p>
        </p:txBody>
      </p:sp>
      <p:sp>
        <p:nvSpPr>
          <p:cNvPr id="18" name="Freeform: Shape 17">
            <a:extLst>
              <a:ext uri="{FF2B5EF4-FFF2-40B4-BE49-F238E27FC236}">
                <a16:creationId xmlns:a16="http://schemas.microsoft.com/office/drawing/2014/main" id="{DC8327ED-80CE-4080-A296-2D510A504861}"/>
              </a:ext>
            </a:extLst>
          </p:cNvPr>
          <p:cNvSpPr/>
          <p:nvPr/>
        </p:nvSpPr>
        <p:spPr>
          <a:xfrm>
            <a:off x="5629574" y="3700531"/>
            <a:ext cx="571712" cy="1584790"/>
          </a:xfrm>
          <a:custGeom>
            <a:avLst/>
            <a:gdLst>
              <a:gd name="connsiteX0" fmla="*/ 0 w 756439"/>
              <a:gd name="connsiteY0" fmla="*/ 0 h 1228436"/>
              <a:gd name="connsiteX1" fmla="*/ 692727 w 756439"/>
              <a:gd name="connsiteY1" fmla="*/ 397163 h 1228436"/>
              <a:gd name="connsiteX2" fmla="*/ 683491 w 756439"/>
              <a:gd name="connsiteY2" fmla="*/ 1228436 h 1228436"/>
            </a:gdLst>
            <a:ahLst/>
            <a:cxnLst>
              <a:cxn ang="0">
                <a:pos x="connsiteX0" y="connsiteY0"/>
              </a:cxn>
              <a:cxn ang="0">
                <a:pos x="connsiteX1" y="connsiteY1"/>
              </a:cxn>
              <a:cxn ang="0">
                <a:pos x="connsiteX2" y="connsiteY2"/>
              </a:cxn>
            </a:cxnLst>
            <a:rect l="l" t="t" r="r" b="b"/>
            <a:pathLst>
              <a:path w="756439" h="1228436">
                <a:moveTo>
                  <a:pt x="0" y="0"/>
                </a:moveTo>
                <a:cubicBezTo>
                  <a:pt x="289406" y="96212"/>
                  <a:pt x="578812" y="192424"/>
                  <a:pt x="692727" y="397163"/>
                </a:cubicBezTo>
                <a:cubicBezTo>
                  <a:pt x="806642" y="601902"/>
                  <a:pt x="745066" y="915169"/>
                  <a:pt x="683491" y="1228436"/>
                </a:cubicBezTo>
              </a:path>
            </a:pathLst>
          </a:custGeom>
          <a:noFill/>
          <a:ln w="28575" cap="flat">
            <a:solidFill>
              <a:srgbClr val="22777B"/>
            </a:solidFill>
            <a:prstDash val="dash"/>
            <a:miter/>
            <a:headEnd w="med" len="med"/>
            <a:tailEnd type="triangle" w="med" len="med"/>
          </a:ln>
        </p:spPr>
        <p:txBody>
          <a:bodyPr rtlCol="0" anchor="ctr"/>
          <a:lstStyle/>
          <a:p>
            <a:pPr algn="ctr"/>
            <a:endParaRPr lang="nl-NL"/>
          </a:p>
        </p:txBody>
      </p:sp>
      <p:sp>
        <p:nvSpPr>
          <p:cNvPr id="19" name="Freeform: Shape 18">
            <a:extLst>
              <a:ext uri="{FF2B5EF4-FFF2-40B4-BE49-F238E27FC236}">
                <a16:creationId xmlns:a16="http://schemas.microsoft.com/office/drawing/2014/main" id="{8517B637-E959-407C-B2BA-24DB0A7D949C}"/>
              </a:ext>
            </a:extLst>
          </p:cNvPr>
          <p:cNvSpPr/>
          <p:nvPr/>
        </p:nvSpPr>
        <p:spPr>
          <a:xfrm rot="20388746">
            <a:off x="6655093" y="4187846"/>
            <a:ext cx="718096" cy="994892"/>
          </a:xfrm>
          <a:custGeom>
            <a:avLst/>
            <a:gdLst>
              <a:gd name="connsiteX0" fmla="*/ 480291 w 480291"/>
              <a:gd name="connsiteY0" fmla="*/ 0 h 600364"/>
              <a:gd name="connsiteX1" fmla="*/ 101600 w 480291"/>
              <a:gd name="connsiteY1" fmla="*/ 314036 h 600364"/>
              <a:gd name="connsiteX2" fmla="*/ 0 w 480291"/>
              <a:gd name="connsiteY2" fmla="*/ 600364 h 600364"/>
            </a:gdLst>
            <a:ahLst/>
            <a:cxnLst>
              <a:cxn ang="0">
                <a:pos x="connsiteX0" y="connsiteY0"/>
              </a:cxn>
              <a:cxn ang="0">
                <a:pos x="connsiteX1" y="connsiteY1"/>
              </a:cxn>
              <a:cxn ang="0">
                <a:pos x="connsiteX2" y="connsiteY2"/>
              </a:cxn>
            </a:cxnLst>
            <a:rect l="l" t="t" r="r" b="b"/>
            <a:pathLst>
              <a:path w="480291" h="600364">
                <a:moveTo>
                  <a:pt x="480291" y="0"/>
                </a:moveTo>
                <a:cubicBezTo>
                  <a:pt x="330969" y="106987"/>
                  <a:pt x="181648" y="213975"/>
                  <a:pt x="101600" y="314036"/>
                </a:cubicBezTo>
                <a:cubicBezTo>
                  <a:pt x="21551" y="414097"/>
                  <a:pt x="10775" y="507230"/>
                  <a:pt x="0" y="600364"/>
                </a:cubicBezTo>
              </a:path>
            </a:pathLst>
          </a:custGeom>
          <a:noFill/>
          <a:ln w="28575" cap="flat">
            <a:solidFill>
              <a:srgbClr val="22777B"/>
            </a:solidFill>
            <a:prstDash val="dash"/>
            <a:miter/>
            <a:headEnd w="med" len="med"/>
            <a:tailEnd type="triangle" w="med" len="med"/>
          </a:ln>
        </p:spPr>
        <p:txBody>
          <a:bodyPr rtlCol="0" anchor="ctr"/>
          <a:lstStyle/>
          <a:p>
            <a:pPr algn="ctr"/>
            <a:endParaRPr lang="nl-NL"/>
          </a:p>
        </p:txBody>
      </p:sp>
      <p:sp>
        <p:nvSpPr>
          <p:cNvPr id="20" name="TextBox 19">
            <a:extLst>
              <a:ext uri="{FF2B5EF4-FFF2-40B4-BE49-F238E27FC236}">
                <a16:creationId xmlns:a16="http://schemas.microsoft.com/office/drawing/2014/main" id="{B1708895-59E5-4A73-A1C1-80199B5DA937}"/>
              </a:ext>
            </a:extLst>
          </p:cNvPr>
          <p:cNvSpPr txBox="1"/>
          <p:nvPr/>
        </p:nvSpPr>
        <p:spPr>
          <a:xfrm>
            <a:off x="4561201" y="5354092"/>
            <a:ext cx="4381162" cy="609965"/>
          </a:xfrm>
          <a:prstGeom prst="rect">
            <a:avLst/>
          </a:prstGeom>
          <a:solidFill>
            <a:srgbClr val="22777B"/>
          </a:solidFill>
        </p:spPr>
        <p:txBody>
          <a:bodyPr vert="horz" wrap="square" lIns="91440" tIns="45720" rIns="91440" bIns="45720" rtlCol="0" anchor="ctr">
            <a:noAutofit/>
          </a:bodyPr>
          <a:lstStyle/>
          <a:p>
            <a:pPr marL="0" indent="0" algn="ctr">
              <a:buNone/>
            </a:pPr>
            <a:r>
              <a:rPr lang="nl-NL" sz="2000" b="1" noProof="0" dirty="0">
                <a:solidFill>
                  <a:srgbClr val="FFFFFF"/>
                </a:solidFill>
              </a:rPr>
              <a:t>Zowel in de eerste als tweede ronde is een case interview een onderdeel</a:t>
            </a:r>
            <a:endParaRPr lang="nl-NL" b="1" noProof="0" dirty="0">
              <a:solidFill>
                <a:srgbClr val="FFFFFF"/>
              </a:solidFill>
            </a:endParaRPr>
          </a:p>
        </p:txBody>
      </p:sp>
    </p:spTree>
    <p:extLst>
      <p:ext uri="{BB962C8B-B14F-4D97-AF65-F5344CB8AC3E}">
        <p14:creationId xmlns:p14="http://schemas.microsoft.com/office/powerpoint/2010/main" val="17964363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466DDB1-0F9C-4306-BA3F-846E79434E0F}"/>
              </a:ext>
            </a:extLst>
          </p:cNvPr>
          <p:cNvSpPr>
            <a:spLocks noGrp="1"/>
          </p:cNvSpPr>
          <p:nvPr>
            <p:ph type="body" sz="quarter" idx="24"/>
          </p:nvPr>
        </p:nvSpPr>
        <p:spPr/>
        <p:txBody>
          <a:bodyPr/>
          <a:lstStyle/>
          <a:p>
            <a:r>
              <a:rPr lang="nl-NL" dirty="0"/>
              <a:t>Foto kaft: It’s Public</a:t>
            </a:r>
          </a:p>
          <a:p>
            <a:r>
              <a:rPr lang="nl-NL" dirty="0"/>
              <a:t>Foto schrijven: </a:t>
            </a:r>
            <a:r>
              <a:rPr lang="nl-NL" dirty="0" err="1"/>
              <a:t>rechtenvrij</a:t>
            </a:r>
            <a:r>
              <a:rPr lang="nl-NL" dirty="0"/>
              <a:t>, Green </a:t>
            </a:r>
            <a:r>
              <a:rPr lang="nl-NL" dirty="0" err="1"/>
              <a:t>Chameleon</a:t>
            </a:r>
            <a:endParaRPr lang="nl-NL" dirty="0"/>
          </a:p>
          <a:p>
            <a:r>
              <a:rPr lang="nl-NL" dirty="0"/>
              <a:t>Foto klas: </a:t>
            </a:r>
            <a:r>
              <a:rPr lang="nl-NL" dirty="0" err="1"/>
              <a:t>rechtenvrij</a:t>
            </a:r>
            <a:r>
              <a:rPr lang="nl-NL" dirty="0"/>
              <a:t>, Arthur Krijgsman</a:t>
            </a:r>
          </a:p>
          <a:p>
            <a:r>
              <a:rPr lang="nl-NL" dirty="0"/>
              <a:t>Foto leerling: </a:t>
            </a:r>
            <a:r>
              <a:rPr lang="nl-NL" dirty="0" err="1"/>
              <a:t>rechtenvrij</a:t>
            </a:r>
            <a:r>
              <a:rPr lang="nl-NL" dirty="0"/>
              <a:t>, CDC</a:t>
            </a:r>
          </a:p>
        </p:txBody>
      </p:sp>
      <p:sp>
        <p:nvSpPr>
          <p:cNvPr id="3" name="Text Placeholder 2">
            <a:extLst>
              <a:ext uri="{FF2B5EF4-FFF2-40B4-BE49-F238E27FC236}">
                <a16:creationId xmlns:a16="http://schemas.microsoft.com/office/drawing/2014/main" id="{27861FC3-90BC-4A13-86B1-73862702163B}"/>
              </a:ext>
            </a:extLst>
          </p:cNvPr>
          <p:cNvSpPr>
            <a:spLocks noGrp="1"/>
          </p:cNvSpPr>
          <p:nvPr>
            <p:ph type="body" sz="quarter" idx="23"/>
          </p:nvPr>
        </p:nvSpPr>
        <p:spPr/>
        <p:txBody>
          <a:bodyPr/>
          <a:lstStyle/>
          <a:p>
            <a:r>
              <a:rPr lang="nl-NL" dirty="0"/>
              <a:t>Thijs Jacobs ( thijs.jacobs@itspublic.nl)</a:t>
            </a:r>
          </a:p>
        </p:txBody>
      </p:sp>
    </p:spTree>
    <p:extLst>
      <p:ext uri="{BB962C8B-B14F-4D97-AF65-F5344CB8AC3E}">
        <p14:creationId xmlns:p14="http://schemas.microsoft.com/office/powerpoint/2010/main" val="15128986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5D90AF9-FC39-4D64-A5D0-CEE2D6DBB46D}"/>
              </a:ext>
            </a:extLst>
          </p:cNvPr>
          <p:cNvGraphicFramePr>
            <a:graphicFrameLocks noChangeAspect="1"/>
          </p:cNvGraphicFramePr>
          <p:nvPr>
            <p:custDataLst>
              <p:tags r:id="rId2"/>
            </p:custDataLst>
            <p:extLst>
              <p:ext uri="{D42A27DB-BD31-4B8C-83A1-F6EECF244321}">
                <p14:modId xmlns:p14="http://schemas.microsoft.com/office/powerpoint/2010/main" val="2015876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78" name="think-cell Slide" r:id="rId4" imgW="526" imgH="526" progId="TCLayout.ActiveDocument.1">
                  <p:embed/>
                </p:oleObj>
              </mc:Choice>
              <mc:Fallback>
                <p:oleObj name="think-cell Slid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85BBA836-1674-4455-B341-534D8C6AB864}"/>
              </a:ext>
            </a:extLst>
          </p:cNvPr>
          <p:cNvSpPr>
            <a:spLocks noGrp="1"/>
          </p:cNvSpPr>
          <p:nvPr>
            <p:ph type="body" sz="quarter" idx="15"/>
          </p:nvPr>
        </p:nvSpPr>
        <p:spPr>
          <a:xfrm>
            <a:off x="6501127" y="1785144"/>
            <a:ext cx="4680000" cy="1095621"/>
          </a:xfrm>
          <a:prstGeom prst="rect">
            <a:avLst/>
          </a:prstGeom>
          <a:solidFill>
            <a:schemeClr val="tx2"/>
          </a:solidFill>
          <a:ln w="28575">
            <a:solidFill>
              <a:srgbClr val="22777B"/>
            </a:solidFill>
          </a:ln>
        </p:spPr>
        <p:txBody>
          <a:bodyPr anchor="ctr"/>
          <a:lstStyle/>
          <a:p>
            <a:r>
              <a:rPr lang="en-US" sz="2800" b="1" dirty="0" err="1">
                <a:solidFill>
                  <a:srgbClr val="FFFFFF"/>
                </a:solidFill>
              </a:rPr>
              <a:t>Oefencase</a:t>
            </a:r>
            <a:r>
              <a:rPr lang="en-US" sz="2800" b="1" dirty="0">
                <a:solidFill>
                  <a:srgbClr val="FFFFFF"/>
                </a:solidFill>
              </a:rPr>
              <a:t> </a:t>
            </a:r>
            <a:endParaRPr lang="en-US" sz="1800" b="1" dirty="0">
              <a:solidFill>
                <a:srgbClr val="FFFFFF"/>
              </a:solidFill>
            </a:endParaRPr>
          </a:p>
        </p:txBody>
      </p:sp>
      <p:sp>
        <p:nvSpPr>
          <p:cNvPr id="8" name="Text Placeholder 7">
            <a:extLst>
              <a:ext uri="{FF2B5EF4-FFF2-40B4-BE49-F238E27FC236}">
                <a16:creationId xmlns:a16="http://schemas.microsoft.com/office/drawing/2014/main" id="{3CAF7FE7-4A9A-4F2D-8556-43437A085D27}"/>
              </a:ext>
            </a:extLst>
          </p:cNvPr>
          <p:cNvSpPr>
            <a:spLocks noGrp="1"/>
          </p:cNvSpPr>
          <p:nvPr>
            <p:ph type="body" sz="quarter" idx="13"/>
          </p:nvPr>
        </p:nvSpPr>
        <p:spPr>
          <a:xfrm>
            <a:off x="1011238" y="1785938"/>
            <a:ext cx="4679950" cy="1095375"/>
          </a:xfrm>
          <a:prstGeom prst="rect">
            <a:avLst/>
          </a:prstGeom>
          <a:solidFill>
            <a:schemeClr val="tx2"/>
          </a:solidFill>
          <a:ln w="9525">
            <a:solidFill>
              <a:srgbClr val="22777B"/>
            </a:solidFill>
          </a:ln>
        </p:spPr>
        <p:txBody>
          <a:bodyPr anchor="ctr"/>
          <a:lstStyle/>
          <a:p>
            <a:r>
              <a:rPr lang="nl-NL" sz="2800" b="1" dirty="0">
                <a:solidFill>
                  <a:srgbClr val="FFFFFF"/>
                </a:solidFill>
              </a:rPr>
              <a:t>Uitleg</a:t>
            </a:r>
            <a:endParaRPr lang="en-US" sz="2800" b="1" dirty="0">
              <a:solidFill>
                <a:srgbClr val="FFFFFF"/>
              </a:solidFill>
            </a:endParaRPr>
          </a:p>
        </p:txBody>
      </p:sp>
      <p:pic>
        <p:nvPicPr>
          <p:cNvPr id="16" name="Picture Placeholder 15" descr="A group of people sitting at desks in a classroom&#10;&#10;Description automatically generated with medium confidence">
            <a:extLst>
              <a:ext uri="{FF2B5EF4-FFF2-40B4-BE49-F238E27FC236}">
                <a16:creationId xmlns:a16="http://schemas.microsoft.com/office/drawing/2014/main" id="{5F185E14-0BBC-4517-9D85-1D83B0F389D7}"/>
              </a:ext>
            </a:extLst>
          </p:cNvPr>
          <p:cNvPicPr>
            <a:picLocks noGrp="1" noChangeAspect="1"/>
          </p:cNvPicPr>
          <p:nvPr>
            <p:ph type="pic" sz="quarter" idx="16"/>
          </p:nvPr>
        </p:nvPicPr>
        <p:blipFill>
          <a:blip r:embed="rId6" cstate="hqprint">
            <a:extLst>
              <a:ext uri="{28A0092B-C50C-407E-A947-70E740481C1C}">
                <a14:useLocalDpi xmlns:a14="http://schemas.microsoft.com/office/drawing/2010/main"/>
              </a:ext>
            </a:extLst>
          </a:blip>
          <a:srcRect/>
          <a:stretch>
            <a:fillRect/>
          </a:stretch>
        </p:blipFill>
        <p:spPr>
          <a:xfrm>
            <a:off x="6500813" y="2880766"/>
            <a:ext cx="4680314" cy="3015210"/>
          </a:xfrm>
          <a:prstGeom prst="rect">
            <a:avLst/>
          </a:prstGeom>
          <a:ln w="28575">
            <a:noFill/>
          </a:ln>
          <a:extLst>
            <a:ext uri="{91240B29-F687-4F45-9708-019B960494DF}">
              <a14:hiddenLine xmlns:a14="http://schemas.microsoft.com/office/drawing/2010/main" w="28575">
                <a:solidFill>
                  <a:schemeClr val="accent1"/>
                </a:solidFill>
              </a14:hiddenLine>
            </a:ext>
          </a:extLst>
        </p:spPr>
      </p:pic>
      <p:pic>
        <p:nvPicPr>
          <p:cNvPr id="14" name="Picture Placeholder 13" descr="A person writing on a piece of paper&#10;&#10;Description automatically generated with medium confidence">
            <a:extLst>
              <a:ext uri="{FF2B5EF4-FFF2-40B4-BE49-F238E27FC236}">
                <a16:creationId xmlns:a16="http://schemas.microsoft.com/office/drawing/2014/main" id="{2CBB5E1D-5A04-4635-928D-64D61577096B}"/>
              </a:ext>
            </a:extLst>
          </p:cNvPr>
          <p:cNvPicPr>
            <a:picLocks noGrp="1" noChangeAspect="1"/>
          </p:cNvPicPr>
          <p:nvPr>
            <p:ph type="pic" sz="quarter" idx="14"/>
          </p:nvPr>
        </p:nvPicPr>
        <p:blipFill>
          <a:blip r:embed="rId7" cstate="hqprint">
            <a:extLst>
              <a:ext uri="{28A0092B-C50C-407E-A947-70E740481C1C}">
                <a14:useLocalDpi xmlns:a14="http://schemas.microsoft.com/office/drawing/2010/main"/>
              </a:ext>
            </a:extLst>
          </a:blip>
          <a:srcRect/>
          <a:stretch>
            <a:fillRect/>
          </a:stretch>
        </p:blipFill>
        <p:spPr>
          <a:xfrm>
            <a:off x="1010874" y="2880766"/>
            <a:ext cx="4680000" cy="3015210"/>
          </a:xfrm>
          <a:prstGeom prst="rect">
            <a:avLst/>
          </a:prstGeom>
          <a:ln w="28575">
            <a:noFill/>
          </a:ln>
          <a:extLst>
            <a:ext uri="{91240B29-F687-4F45-9708-019B960494DF}">
              <a14:hiddenLine xmlns:a14="http://schemas.microsoft.com/office/drawing/2010/main" w="28575">
                <a:solidFill>
                  <a:schemeClr val="accent1"/>
                </a:solidFill>
              </a14:hiddenLine>
            </a:ext>
          </a:extLst>
        </p:spPr>
      </p:pic>
      <p:sp>
        <p:nvSpPr>
          <p:cNvPr id="19" name="Rectangle 18">
            <a:extLst>
              <a:ext uri="{FF2B5EF4-FFF2-40B4-BE49-F238E27FC236}">
                <a16:creationId xmlns:a16="http://schemas.microsoft.com/office/drawing/2014/main" id="{B963A3D5-5B0F-4CE3-B6E1-3D8D0597AA81}"/>
              </a:ext>
            </a:extLst>
          </p:cNvPr>
          <p:cNvSpPr/>
          <p:nvPr/>
        </p:nvSpPr>
        <p:spPr>
          <a:xfrm>
            <a:off x="1010510" y="2880766"/>
            <a:ext cx="4680264" cy="3015210"/>
          </a:xfrm>
          <a:prstGeom prst="rect">
            <a:avLst/>
          </a:prstGeom>
          <a:solidFill>
            <a:srgbClr val="95C5C9">
              <a:alpha val="60000"/>
            </a:srgbClr>
          </a:solidFill>
          <a:ln w="2857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a:p>
        </p:txBody>
      </p:sp>
      <p:sp>
        <p:nvSpPr>
          <p:cNvPr id="20" name="Rectangle 19">
            <a:extLst>
              <a:ext uri="{FF2B5EF4-FFF2-40B4-BE49-F238E27FC236}">
                <a16:creationId xmlns:a16="http://schemas.microsoft.com/office/drawing/2014/main" id="{56446B04-74D3-4062-9AB6-A349121A01EF}"/>
              </a:ext>
            </a:extLst>
          </p:cNvPr>
          <p:cNvSpPr/>
          <p:nvPr/>
        </p:nvSpPr>
        <p:spPr>
          <a:xfrm>
            <a:off x="6500813" y="2880766"/>
            <a:ext cx="4679950" cy="3015210"/>
          </a:xfrm>
          <a:prstGeom prst="rect">
            <a:avLst/>
          </a:prstGeom>
          <a:solidFill>
            <a:srgbClr val="95C5C9">
              <a:alpha val="60000"/>
            </a:srgbClr>
          </a:solidFill>
          <a:ln w="2857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a:p>
        </p:txBody>
      </p:sp>
      <p:sp>
        <p:nvSpPr>
          <p:cNvPr id="5" name="Title 4">
            <a:extLst>
              <a:ext uri="{FF2B5EF4-FFF2-40B4-BE49-F238E27FC236}">
                <a16:creationId xmlns:a16="http://schemas.microsoft.com/office/drawing/2014/main" id="{D7CB8B9B-2369-4D7C-9304-72092A907A65}"/>
              </a:ext>
            </a:extLst>
          </p:cNvPr>
          <p:cNvSpPr>
            <a:spLocks noGrp="1"/>
          </p:cNvSpPr>
          <p:nvPr>
            <p:ph type="title" idx="4294967295"/>
          </p:nvPr>
        </p:nvSpPr>
        <p:spPr>
          <a:xfrm>
            <a:off x="658813" y="384175"/>
            <a:ext cx="10209212" cy="774700"/>
          </a:xfrm>
        </p:spPr>
        <p:txBody>
          <a:bodyPr vert="horz"/>
          <a:lstStyle/>
          <a:p>
            <a:endParaRPr lang="LID4096" dirty="0"/>
          </a:p>
        </p:txBody>
      </p:sp>
      <p:sp>
        <p:nvSpPr>
          <p:cNvPr id="17" name="Rectangle 16">
            <a:extLst>
              <a:ext uri="{FF2B5EF4-FFF2-40B4-BE49-F238E27FC236}">
                <a16:creationId xmlns:a16="http://schemas.microsoft.com/office/drawing/2014/main" id="{FE1E8AE2-EA8F-4E35-B3C0-000279AACBA3}"/>
              </a:ext>
            </a:extLst>
          </p:cNvPr>
          <p:cNvSpPr/>
          <p:nvPr/>
        </p:nvSpPr>
        <p:spPr>
          <a:xfrm>
            <a:off x="1010824" y="1785938"/>
            <a:ext cx="4679950" cy="4110038"/>
          </a:xfrm>
          <a:prstGeom prst="rect">
            <a:avLst/>
          </a:prstGeom>
          <a:noFill/>
          <a:ln w="28575" cap="flat">
            <a:solidFill>
              <a:srgbClr val="22777B"/>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a:p>
        </p:txBody>
      </p:sp>
      <p:sp>
        <p:nvSpPr>
          <p:cNvPr id="18" name="Rectangle 17">
            <a:extLst>
              <a:ext uri="{FF2B5EF4-FFF2-40B4-BE49-F238E27FC236}">
                <a16:creationId xmlns:a16="http://schemas.microsoft.com/office/drawing/2014/main" id="{18BAECDF-32E0-4B63-8515-A4E4355C6DDC}"/>
              </a:ext>
            </a:extLst>
          </p:cNvPr>
          <p:cNvSpPr/>
          <p:nvPr/>
        </p:nvSpPr>
        <p:spPr>
          <a:xfrm>
            <a:off x="6500813" y="1785938"/>
            <a:ext cx="4679950" cy="4110038"/>
          </a:xfrm>
          <a:prstGeom prst="rect">
            <a:avLst/>
          </a:prstGeom>
          <a:noFill/>
          <a:ln w="28575" cap="flat">
            <a:solidFill>
              <a:srgbClr val="22777B"/>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a:p>
        </p:txBody>
      </p:sp>
      <p:sp>
        <p:nvSpPr>
          <p:cNvPr id="21" name="Rectangle 20">
            <a:extLst>
              <a:ext uri="{FF2B5EF4-FFF2-40B4-BE49-F238E27FC236}">
                <a16:creationId xmlns:a16="http://schemas.microsoft.com/office/drawing/2014/main" id="{57347746-F7D5-49CD-9B02-5F2047B3EBF7}"/>
              </a:ext>
            </a:extLst>
          </p:cNvPr>
          <p:cNvSpPr/>
          <p:nvPr/>
        </p:nvSpPr>
        <p:spPr>
          <a:xfrm>
            <a:off x="6434715" y="1592263"/>
            <a:ext cx="5098473" cy="4411374"/>
          </a:xfrm>
          <a:prstGeom prst="rect">
            <a:avLst/>
          </a:prstGeom>
          <a:solidFill>
            <a:srgbClr val="FFFFFF">
              <a:alpha val="60000"/>
            </a:srgb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a:p>
        </p:txBody>
      </p:sp>
    </p:spTree>
    <p:extLst>
      <p:ext uri="{BB962C8B-B14F-4D97-AF65-F5344CB8AC3E}">
        <p14:creationId xmlns:p14="http://schemas.microsoft.com/office/powerpoint/2010/main" val="24961350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C2FDC33-BE49-457E-8BEA-0CBF478D672D}"/>
              </a:ext>
            </a:extLst>
          </p:cNvPr>
          <p:cNvGraphicFramePr>
            <a:graphicFrameLocks noChangeAspect="1"/>
          </p:cNvGraphicFramePr>
          <p:nvPr>
            <p:custDataLst>
              <p:tags r:id="rId2"/>
            </p:custDataLst>
            <p:extLst>
              <p:ext uri="{D42A27DB-BD31-4B8C-83A1-F6EECF244321}">
                <p14:modId xmlns:p14="http://schemas.microsoft.com/office/powerpoint/2010/main" val="2029515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0"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Content Placeholder 13">
            <a:extLst>
              <a:ext uri="{FF2B5EF4-FFF2-40B4-BE49-F238E27FC236}">
                <a16:creationId xmlns:a16="http://schemas.microsoft.com/office/drawing/2014/main" id="{BAAC5BFB-2672-4ADE-BE9D-CC868069E1E8}"/>
              </a:ext>
            </a:extLst>
          </p:cNvPr>
          <p:cNvSpPr>
            <a:spLocks noGrp="1"/>
          </p:cNvSpPr>
          <p:nvPr>
            <p:ph sz="quarter" idx="35"/>
          </p:nvPr>
        </p:nvSpPr>
        <p:spPr/>
        <p:txBody>
          <a:bodyPr/>
          <a:lstStyle/>
          <a:p>
            <a:pPr>
              <a:lnSpc>
                <a:spcPct val="100000"/>
              </a:lnSpc>
            </a:pPr>
            <a:r>
              <a:rPr lang="nl-NL" dirty="0"/>
              <a:t>Soms grafieken of tabellen bevatten die jij moet aflezen of gebruiken</a:t>
            </a:r>
          </a:p>
          <a:p>
            <a:pPr>
              <a:lnSpc>
                <a:spcPct val="100000"/>
              </a:lnSpc>
            </a:pPr>
            <a:r>
              <a:rPr lang="nl-NL" dirty="0"/>
              <a:t>Korte berekeningen bevatten die je zonder rekenmachine moet uitwerken op een kladblok</a:t>
            </a:r>
          </a:p>
          <a:p>
            <a:pPr>
              <a:lnSpc>
                <a:spcPct val="100000"/>
              </a:lnSpc>
            </a:pPr>
            <a:r>
              <a:rPr lang="nl-NL" dirty="0"/>
              <a:t>Vragen die je creativiteit, begrip voor de publieke sector of communicatievaardigheden toetsen</a:t>
            </a:r>
          </a:p>
          <a:p>
            <a:endParaRPr lang="nl-NL" dirty="0"/>
          </a:p>
        </p:txBody>
      </p:sp>
      <p:sp>
        <p:nvSpPr>
          <p:cNvPr id="2" name="Content Placeholder 1">
            <a:extLst>
              <a:ext uri="{FF2B5EF4-FFF2-40B4-BE49-F238E27FC236}">
                <a16:creationId xmlns:a16="http://schemas.microsoft.com/office/drawing/2014/main" id="{11BAC42D-8A7C-42FF-BB8D-24F67CDBC329}"/>
              </a:ext>
            </a:extLst>
          </p:cNvPr>
          <p:cNvSpPr>
            <a:spLocks noGrp="1"/>
          </p:cNvSpPr>
          <p:nvPr>
            <p:ph sz="quarter" idx="31"/>
          </p:nvPr>
        </p:nvSpPr>
        <p:spPr/>
        <p:txBody>
          <a:bodyPr/>
          <a:lstStyle/>
          <a:p>
            <a:pPr>
              <a:lnSpc>
                <a:spcPct val="100000"/>
              </a:lnSpc>
            </a:pPr>
            <a:r>
              <a:rPr lang="nl-NL" dirty="0"/>
              <a:t>Het case interview duurt ongeveer een half uur</a:t>
            </a:r>
          </a:p>
          <a:p>
            <a:pPr>
              <a:lnSpc>
                <a:spcPct val="100000"/>
              </a:lnSpc>
            </a:pPr>
            <a:r>
              <a:rPr lang="nl-NL" dirty="0"/>
              <a:t>Het case interview begint met een introductie door de interviewer waarin een vraagtstuk wordt uitgelegd of een vraag wordt gesteld. Voorbeeld van vragen zijn: </a:t>
            </a:r>
          </a:p>
          <a:p>
            <a:pPr lvl="1">
              <a:lnSpc>
                <a:spcPct val="100000"/>
              </a:lnSpc>
            </a:pPr>
            <a:r>
              <a:rPr lang="nl-NL" dirty="0"/>
              <a:t>Hoe kan de gemeente Utrecht omgaan met stijgende kosten in het leerlingenvervoer (vervoer voor kinderen die niet zelfstandig naar school kunnen)? </a:t>
            </a:r>
          </a:p>
          <a:p>
            <a:pPr lvl="1">
              <a:lnSpc>
                <a:spcPct val="100000"/>
              </a:lnSpc>
            </a:pPr>
            <a:r>
              <a:rPr lang="nl-NL" dirty="0"/>
              <a:t>Welke maatregelen kan het ministerie van EZK het beste nemen om de CO2 uitstoot van Nederland te verminderen?</a:t>
            </a:r>
          </a:p>
          <a:p>
            <a:pPr lvl="1">
              <a:lnSpc>
                <a:spcPct val="100000"/>
              </a:lnSpc>
            </a:pPr>
            <a:r>
              <a:rPr lang="nl-NL" dirty="0"/>
              <a:t>Wat kan de gemeente Rotterdam doen nu de cijfers rondom jeugdcriminaliteit stijgen?</a:t>
            </a:r>
          </a:p>
          <a:p>
            <a:pPr>
              <a:lnSpc>
                <a:spcPct val="100000"/>
              </a:lnSpc>
            </a:pPr>
            <a:r>
              <a:rPr lang="nl-NL" dirty="0"/>
              <a:t>Vervolgens is het aan jou als kandidaat om de case te gaan ontleden en de vragen te beantwoorden.</a:t>
            </a:r>
          </a:p>
          <a:p>
            <a:pPr marL="0" indent="0">
              <a:buNone/>
            </a:pPr>
            <a:endParaRPr lang="nl-NL" dirty="0"/>
          </a:p>
          <a:p>
            <a:pPr marL="0" indent="0">
              <a:buNone/>
            </a:pPr>
            <a:endParaRPr lang="nl-NL" dirty="0"/>
          </a:p>
          <a:p>
            <a:pPr marL="0" indent="0">
              <a:buNone/>
            </a:pPr>
            <a:br>
              <a:rPr lang="nl-NL" b="1" dirty="0"/>
            </a:br>
            <a:endParaRPr lang="nl-NL" dirty="0"/>
          </a:p>
          <a:p>
            <a:pPr marL="0" indent="0">
              <a:buNone/>
            </a:pPr>
            <a:endParaRPr lang="nl-NL" dirty="0"/>
          </a:p>
          <a:p>
            <a:endParaRPr lang="nl-NL" dirty="0"/>
          </a:p>
        </p:txBody>
      </p:sp>
      <p:sp>
        <p:nvSpPr>
          <p:cNvPr id="13" name="Text Placeholder 12">
            <a:extLst>
              <a:ext uri="{FF2B5EF4-FFF2-40B4-BE49-F238E27FC236}">
                <a16:creationId xmlns:a16="http://schemas.microsoft.com/office/drawing/2014/main" id="{9005F1CE-4541-47CD-9F68-49939E9B3F78}"/>
              </a:ext>
            </a:extLst>
          </p:cNvPr>
          <p:cNvSpPr>
            <a:spLocks noGrp="1"/>
          </p:cNvSpPr>
          <p:nvPr>
            <p:ph type="body" sz="quarter" idx="34"/>
          </p:nvPr>
        </p:nvSpPr>
        <p:spPr/>
        <p:txBody>
          <a:bodyPr/>
          <a:lstStyle/>
          <a:p>
            <a:r>
              <a:rPr lang="nl-NL" b="1" dirty="0"/>
              <a:t>Wat kan er ook in een case interview zitten?</a:t>
            </a:r>
          </a:p>
          <a:p>
            <a:endParaRPr lang="nl-NL" dirty="0"/>
          </a:p>
        </p:txBody>
      </p:sp>
      <p:sp>
        <p:nvSpPr>
          <p:cNvPr id="12" name="Text Placeholder 11">
            <a:extLst>
              <a:ext uri="{FF2B5EF4-FFF2-40B4-BE49-F238E27FC236}">
                <a16:creationId xmlns:a16="http://schemas.microsoft.com/office/drawing/2014/main" id="{ECF465FB-A803-4DCA-B121-14689F19B1D9}"/>
              </a:ext>
            </a:extLst>
          </p:cNvPr>
          <p:cNvSpPr>
            <a:spLocks noGrp="1"/>
          </p:cNvSpPr>
          <p:nvPr>
            <p:ph type="body" sz="quarter" idx="30"/>
          </p:nvPr>
        </p:nvSpPr>
        <p:spPr/>
        <p:txBody>
          <a:bodyPr/>
          <a:lstStyle/>
          <a:p>
            <a:r>
              <a:rPr lang="nl-NL" b="1" dirty="0"/>
              <a:t>Wat bevat een case interview altijd?</a:t>
            </a:r>
          </a:p>
          <a:p>
            <a:endParaRPr lang="nl-NL" dirty="0"/>
          </a:p>
        </p:txBody>
      </p:sp>
      <p:sp>
        <p:nvSpPr>
          <p:cNvPr id="10" name="Text Placeholder 9">
            <a:extLst>
              <a:ext uri="{FF2B5EF4-FFF2-40B4-BE49-F238E27FC236}">
                <a16:creationId xmlns:a16="http://schemas.microsoft.com/office/drawing/2014/main" id="{45470DB4-2883-4C0C-AADA-15B77926FD23}"/>
              </a:ext>
            </a:extLst>
          </p:cNvPr>
          <p:cNvSpPr>
            <a:spLocks noGrp="1"/>
          </p:cNvSpPr>
          <p:nvPr>
            <p:ph type="body" sz="quarter" idx="14"/>
          </p:nvPr>
        </p:nvSpPr>
        <p:spPr/>
        <p:txBody>
          <a:bodyPr/>
          <a:lstStyle/>
          <a:p>
            <a:endParaRPr lang="nl-NL"/>
          </a:p>
        </p:txBody>
      </p:sp>
      <p:sp>
        <p:nvSpPr>
          <p:cNvPr id="5" name="Title 4">
            <a:extLst>
              <a:ext uri="{FF2B5EF4-FFF2-40B4-BE49-F238E27FC236}">
                <a16:creationId xmlns:a16="http://schemas.microsoft.com/office/drawing/2014/main" id="{29824A80-7213-4090-B2F6-F05AA2CBC36B}"/>
              </a:ext>
            </a:extLst>
          </p:cNvPr>
          <p:cNvSpPr>
            <a:spLocks noGrp="1"/>
          </p:cNvSpPr>
          <p:nvPr>
            <p:ph type="title"/>
          </p:nvPr>
        </p:nvSpPr>
        <p:spPr/>
        <p:txBody>
          <a:bodyPr vert="horz"/>
          <a:lstStyle/>
          <a:p>
            <a:r>
              <a:rPr lang="nl-NL" dirty="0"/>
              <a:t>Hoe ziet een case interview eruit?</a:t>
            </a:r>
          </a:p>
        </p:txBody>
      </p:sp>
      <p:sp>
        <p:nvSpPr>
          <p:cNvPr id="11" name="Text Placeholder 10">
            <a:extLst>
              <a:ext uri="{FF2B5EF4-FFF2-40B4-BE49-F238E27FC236}">
                <a16:creationId xmlns:a16="http://schemas.microsoft.com/office/drawing/2014/main" id="{DE319817-9E1A-4D10-B4F0-F8FAD7343952}"/>
              </a:ext>
            </a:extLst>
          </p:cNvPr>
          <p:cNvSpPr>
            <a:spLocks noGrp="1"/>
          </p:cNvSpPr>
          <p:nvPr>
            <p:ph type="body" sz="quarter" idx="20"/>
          </p:nvPr>
        </p:nvSpPr>
        <p:spPr/>
        <p:txBody>
          <a:bodyPr/>
          <a:lstStyle/>
          <a:p>
            <a:endParaRPr lang="nl-NL"/>
          </a:p>
        </p:txBody>
      </p:sp>
    </p:spTree>
    <p:extLst>
      <p:ext uri="{BB962C8B-B14F-4D97-AF65-F5344CB8AC3E}">
        <p14:creationId xmlns:p14="http://schemas.microsoft.com/office/powerpoint/2010/main" val="9775538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CEF8C-B329-460F-B198-B724B70A815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02" name="think-cell Slide" r:id="rId4" imgW="425" imgH="426" progId="TCLayout.ActiveDocument.1">
                  <p:embed/>
                </p:oleObj>
              </mc:Choice>
              <mc:Fallback>
                <p:oleObj name="think-cell Slide" r:id="rId4" imgW="425" imgH="426" progId="TCLayout.ActiveDocument.1">
                  <p:embed/>
                  <p:pic>
                    <p:nvPicPr>
                      <p:cNvPr id="7" name="Object 6" hidden="1">
                        <a:extLst>
                          <a:ext uri="{FF2B5EF4-FFF2-40B4-BE49-F238E27FC236}">
                            <a16:creationId xmlns:a16="http://schemas.microsoft.com/office/drawing/2014/main" id="{311CEF8C-B329-460F-B198-B724B70A81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Content Placeholder 15">
            <a:extLst>
              <a:ext uri="{FF2B5EF4-FFF2-40B4-BE49-F238E27FC236}">
                <a16:creationId xmlns:a16="http://schemas.microsoft.com/office/drawing/2014/main" id="{8EE482B8-9ABD-44C9-92AF-B1A8A8CCF1CD}"/>
              </a:ext>
            </a:extLst>
          </p:cNvPr>
          <p:cNvSpPr>
            <a:spLocks noGrp="1"/>
          </p:cNvSpPr>
          <p:nvPr>
            <p:ph sz="quarter" idx="39"/>
          </p:nvPr>
        </p:nvSpPr>
        <p:spPr>
          <a:xfrm>
            <a:off x="8094820" y="3613528"/>
            <a:ext cx="3434400" cy="2730434"/>
          </a:xfrm>
        </p:spPr>
        <p:txBody>
          <a:bodyPr/>
          <a:lstStyle/>
          <a:p>
            <a:r>
              <a:rPr lang="nl-NL" dirty="0"/>
              <a:t>Waar mogelijk formuleer je </a:t>
            </a:r>
            <a:r>
              <a:rPr lang="nl-NL" dirty="0" err="1"/>
              <a:t>to</a:t>
            </a:r>
            <a:r>
              <a:rPr lang="nl-NL" dirty="0"/>
              <a:t> </a:t>
            </a:r>
            <a:r>
              <a:rPr lang="nl-NL" dirty="0" err="1"/>
              <a:t>the</a:t>
            </a:r>
            <a:r>
              <a:rPr lang="nl-NL" dirty="0"/>
              <a:t> point en beknopt. </a:t>
            </a:r>
          </a:p>
          <a:p>
            <a:r>
              <a:rPr lang="nl-NL" dirty="0"/>
              <a:t>Waar nodig vraag je de interviewer om verheldering en extra informatie.</a:t>
            </a:r>
          </a:p>
          <a:p>
            <a:r>
              <a:rPr lang="nl-NL" dirty="0"/>
              <a:t>Je kunt op het einde van de case de informatie goed samenvatten.</a:t>
            </a:r>
          </a:p>
          <a:p>
            <a:endParaRPr lang="nl-NL" dirty="0"/>
          </a:p>
        </p:txBody>
      </p:sp>
      <p:sp>
        <p:nvSpPr>
          <p:cNvPr id="18" name="Content Placeholder 17">
            <a:extLst>
              <a:ext uri="{FF2B5EF4-FFF2-40B4-BE49-F238E27FC236}">
                <a16:creationId xmlns:a16="http://schemas.microsoft.com/office/drawing/2014/main" id="{CC70F9C8-C4DD-4140-B098-BEDF5B6E94F0}"/>
              </a:ext>
            </a:extLst>
          </p:cNvPr>
          <p:cNvSpPr>
            <a:spLocks noGrp="1"/>
          </p:cNvSpPr>
          <p:nvPr>
            <p:ph sz="quarter" idx="35"/>
          </p:nvPr>
        </p:nvSpPr>
        <p:spPr>
          <a:xfrm>
            <a:off x="4378800" y="3613528"/>
            <a:ext cx="3434400" cy="2730434"/>
          </a:xfrm>
        </p:spPr>
        <p:txBody>
          <a:bodyPr/>
          <a:lstStyle/>
          <a:p>
            <a:r>
              <a:rPr lang="nl-NL" dirty="0"/>
              <a:t>Je kunt simpele berekeningen vlot uitvoeren en je maakt daarbij zinnige inschattingen en aannames.</a:t>
            </a:r>
          </a:p>
          <a:p>
            <a:r>
              <a:rPr lang="nl-NL" dirty="0"/>
              <a:t>Bij elke berekening neem je de interviewer mee en geef je uitleg zodat deze goed te volgen is. </a:t>
            </a:r>
          </a:p>
          <a:p>
            <a:r>
              <a:rPr lang="nl-NL" dirty="0"/>
              <a:t>Je kunt relevante informatie uit veel data vissen en hier de juiste conclusies uit trekken.</a:t>
            </a:r>
          </a:p>
          <a:p>
            <a:r>
              <a:rPr lang="nl-NL" dirty="0"/>
              <a:t>Je reflecteert op je eigen antwoorden en uitkomsten en doet waar nodig een korte </a:t>
            </a:r>
            <a:r>
              <a:rPr lang="nl-NL" dirty="0" err="1">
                <a:solidFill>
                  <a:srgbClr val="22777B"/>
                </a:solidFill>
                <a:hlinkClick r:id="rId6">
                  <a:extLst>
                    <a:ext uri="{A12FA001-AC4F-418D-AE19-62706E023703}">
                      <ahyp:hlinkClr xmlns:ahyp="http://schemas.microsoft.com/office/drawing/2018/hyperlinkcolor" val="tx"/>
                    </a:ext>
                  </a:extLst>
                </a:hlinkClick>
              </a:rPr>
              <a:t>sanity</a:t>
            </a:r>
            <a:r>
              <a:rPr lang="nl-NL" dirty="0">
                <a:solidFill>
                  <a:srgbClr val="22777B"/>
                </a:solidFill>
                <a:hlinkClick r:id="rId6">
                  <a:extLst>
                    <a:ext uri="{A12FA001-AC4F-418D-AE19-62706E023703}">
                      <ahyp:hlinkClr xmlns:ahyp="http://schemas.microsoft.com/office/drawing/2018/hyperlinkcolor" val="tx"/>
                    </a:ext>
                  </a:extLst>
                </a:hlinkClick>
              </a:rPr>
              <a:t> check</a:t>
            </a:r>
            <a:r>
              <a:rPr lang="nl-NL" dirty="0">
                <a:solidFill>
                  <a:srgbClr val="22777B"/>
                </a:solidFill>
              </a:rPr>
              <a:t> </a:t>
            </a:r>
            <a:r>
              <a:rPr lang="nl-NL" dirty="0"/>
              <a:t>om te controleren of je antwoord logisch is.</a:t>
            </a:r>
          </a:p>
          <a:p>
            <a:endParaRPr lang="nl-NL" dirty="0"/>
          </a:p>
        </p:txBody>
      </p:sp>
      <p:sp>
        <p:nvSpPr>
          <p:cNvPr id="2" name="Content Placeholder 1">
            <a:extLst>
              <a:ext uri="{FF2B5EF4-FFF2-40B4-BE49-F238E27FC236}">
                <a16:creationId xmlns:a16="http://schemas.microsoft.com/office/drawing/2014/main" id="{B622645D-A7FB-4D2B-BC28-C73C939DF63F}"/>
              </a:ext>
            </a:extLst>
          </p:cNvPr>
          <p:cNvSpPr>
            <a:spLocks noGrp="1"/>
          </p:cNvSpPr>
          <p:nvPr>
            <p:ph sz="quarter" idx="31"/>
          </p:nvPr>
        </p:nvSpPr>
        <p:spPr>
          <a:xfrm>
            <a:off x="662780" y="3613528"/>
            <a:ext cx="3434400" cy="2730434"/>
          </a:xfrm>
        </p:spPr>
        <p:txBody>
          <a:bodyPr/>
          <a:lstStyle/>
          <a:p>
            <a:r>
              <a:rPr lang="nl-NL" dirty="0"/>
              <a:t>Jouw antwoord volgt een bepaalde structuur die je ook expliciet communiceert. </a:t>
            </a:r>
          </a:p>
          <a:p>
            <a:r>
              <a:rPr lang="nl-NL" dirty="0"/>
              <a:t>Je kunt de hoofdzaken van de bijzaken onderscheiden.</a:t>
            </a:r>
          </a:p>
          <a:p>
            <a:r>
              <a:rPr lang="nl-NL" dirty="0"/>
              <a:t>Waar nodig ben je creatief en kan je een probleem op van meerdere kanten bekijken.</a:t>
            </a:r>
          </a:p>
        </p:txBody>
      </p:sp>
      <p:sp>
        <p:nvSpPr>
          <p:cNvPr id="9" name="Text Placeholder 8">
            <a:extLst>
              <a:ext uri="{FF2B5EF4-FFF2-40B4-BE49-F238E27FC236}">
                <a16:creationId xmlns:a16="http://schemas.microsoft.com/office/drawing/2014/main" id="{1149A578-9729-4F11-A2A9-38DBBAA4224C}"/>
              </a:ext>
            </a:extLst>
          </p:cNvPr>
          <p:cNvSpPr>
            <a:spLocks noGrp="1"/>
          </p:cNvSpPr>
          <p:nvPr>
            <p:ph type="body" sz="quarter" idx="14"/>
          </p:nvPr>
        </p:nvSpPr>
        <p:spPr/>
        <p:txBody>
          <a:bodyPr/>
          <a:lstStyle/>
          <a:p>
            <a:endParaRPr lang="nl-NL"/>
          </a:p>
        </p:txBody>
      </p:sp>
      <p:sp>
        <p:nvSpPr>
          <p:cNvPr id="5" name="Title 4">
            <a:extLst>
              <a:ext uri="{FF2B5EF4-FFF2-40B4-BE49-F238E27FC236}">
                <a16:creationId xmlns:a16="http://schemas.microsoft.com/office/drawing/2014/main" id="{F8E61F55-D6AE-45C5-9D7F-85480D78441B}"/>
              </a:ext>
            </a:extLst>
          </p:cNvPr>
          <p:cNvSpPr>
            <a:spLocks noGrp="1"/>
          </p:cNvSpPr>
          <p:nvPr>
            <p:ph type="title"/>
          </p:nvPr>
        </p:nvSpPr>
        <p:spPr/>
        <p:txBody>
          <a:bodyPr vert="horz"/>
          <a:lstStyle/>
          <a:p>
            <a:r>
              <a:rPr lang="nl-NL" dirty="0"/>
              <a:t>Wat maakt een goed case interview?</a:t>
            </a:r>
          </a:p>
        </p:txBody>
      </p:sp>
      <p:sp>
        <p:nvSpPr>
          <p:cNvPr id="10" name="Text Placeholder 9">
            <a:extLst>
              <a:ext uri="{FF2B5EF4-FFF2-40B4-BE49-F238E27FC236}">
                <a16:creationId xmlns:a16="http://schemas.microsoft.com/office/drawing/2014/main" id="{E5947F89-E411-48C0-8C80-ABAF1537BCF8}"/>
              </a:ext>
            </a:extLst>
          </p:cNvPr>
          <p:cNvSpPr>
            <a:spLocks noGrp="1"/>
          </p:cNvSpPr>
          <p:nvPr>
            <p:ph type="body" sz="quarter" idx="20"/>
          </p:nvPr>
        </p:nvSpPr>
        <p:spPr/>
        <p:txBody>
          <a:bodyPr/>
          <a:lstStyle/>
          <a:p>
            <a:endParaRPr lang="nl-NL"/>
          </a:p>
        </p:txBody>
      </p:sp>
      <p:pic>
        <p:nvPicPr>
          <p:cNvPr id="8" name="Graphic 7" descr="Basic Shapes with solid fill">
            <a:extLst>
              <a:ext uri="{FF2B5EF4-FFF2-40B4-BE49-F238E27FC236}">
                <a16:creationId xmlns:a16="http://schemas.microsoft.com/office/drawing/2014/main" id="{6FC7CF57-361B-4806-93F5-E828F394957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60820" y="2699128"/>
            <a:ext cx="914400" cy="914400"/>
          </a:xfrm>
          <a:prstGeom prst="rect">
            <a:avLst/>
          </a:prstGeom>
        </p:spPr>
      </p:pic>
      <p:sp>
        <p:nvSpPr>
          <p:cNvPr id="20" name="TextBox 19">
            <a:extLst>
              <a:ext uri="{FF2B5EF4-FFF2-40B4-BE49-F238E27FC236}">
                <a16:creationId xmlns:a16="http://schemas.microsoft.com/office/drawing/2014/main" id="{B8AD18D0-E87F-4894-BB3B-DB4602B6AD60}"/>
              </a:ext>
            </a:extLst>
          </p:cNvPr>
          <p:cNvSpPr txBox="1"/>
          <p:nvPr/>
        </p:nvSpPr>
        <p:spPr>
          <a:xfrm>
            <a:off x="660820" y="1699175"/>
            <a:ext cx="10868400" cy="1067143"/>
          </a:xfrm>
          <a:prstGeom prst="rect">
            <a:avLst/>
          </a:prstGeom>
        </p:spPr>
        <p:txBody>
          <a:bodyPr vert="horz" wrap="square" lIns="91440" tIns="45720" rIns="91440" bIns="45720" rtlCol="0">
            <a:noAutofit/>
          </a:bodyPr>
          <a:lstStyle/>
          <a:p>
            <a:pPr marL="0" indent="0">
              <a:lnSpc>
                <a:spcPct val="100000"/>
              </a:lnSpc>
              <a:buNone/>
            </a:pPr>
            <a:r>
              <a:rPr lang="nl-NL" b="0" i="0" dirty="0">
                <a:effectLst/>
                <a:latin typeface="+mj-lt"/>
              </a:rPr>
              <a:t>Realiseer je dat het niet alleen gaat om het oplossen van de case, maar vooral om de manier waarop je de interviewer meeneemt in je gedachtegang. </a:t>
            </a:r>
            <a:r>
              <a:rPr lang="nl-NL" dirty="0"/>
              <a:t>Grotendeels gaat het om de manier van denken en de vaardigheden die je kunt tonen tijdens de case. </a:t>
            </a:r>
          </a:p>
          <a:p>
            <a:pPr marL="0" indent="0">
              <a:lnSpc>
                <a:spcPct val="100000"/>
              </a:lnSpc>
              <a:buNone/>
            </a:pPr>
            <a:r>
              <a:rPr lang="nl-NL" dirty="0"/>
              <a:t>Geen enkel antwoord is geheel goed of fout, en er is ook nooit één goed antwoord. Sommige antwoorden zijn wel beter dan andere. Goede antwoorden bevatten elementen zoals:</a:t>
            </a:r>
          </a:p>
          <a:p>
            <a:pPr marL="0" indent="0">
              <a:buNone/>
            </a:pPr>
            <a:endParaRPr lang="nl-NL" dirty="0"/>
          </a:p>
          <a:p>
            <a:pPr marL="0" indent="0">
              <a:buNone/>
            </a:pPr>
            <a:endParaRPr lang="nl-NL" dirty="0"/>
          </a:p>
        </p:txBody>
      </p:sp>
      <p:sp>
        <p:nvSpPr>
          <p:cNvPr id="21" name="TextBox 20">
            <a:extLst>
              <a:ext uri="{FF2B5EF4-FFF2-40B4-BE49-F238E27FC236}">
                <a16:creationId xmlns:a16="http://schemas.microsoft.com/office/drawing/2014/main" id="{2D2FFE3E-75A4-465C-ADD1-2E7D20480FF9}"/>
              </a:ext>
            </a:extLst>
          </p:cNvPr>
          <p:cNvSpPr txBox="1"/>
          <p:nvPr/>
        </p:nvSpPr>
        <p:spPr>
          <a:xfrm>
            <a:off x="1644073" y="2873689"/>
            <a:ext cx="1828799" cy="454891"/>
          </a:xfrm>
          <a:prstGeom prst="rect">
            <a:avLst/>
          </a:prstGeom>
        </p:spPr>
        <p:txBody>
          <a:bodyPr vert="horz" wrap="square" lIns="91440" tIns="45720" rIns="91440" bIns="45720" rtlCol="0">
            <a:noAutofit/>
          </a:bodyPr>
          <a:lstStyle/>
          <a:p>
            <a:pPr marL="0" indent="0">
              <a:buNone/>
            </a:pPr>
            <a:r>
              <a:rPr lang="nl-NL" b="1" dirty="0"/>
              <a:t>Structuur en conceptueel denken</a:t>
            </a:r>
          </a:p>
        </p:txBody>
      </p:sp>
      <p:pic>
        <p:nvPicPr>
          <p:cNvPr id="22" name="Graphic 21" descr="Bar chart with solid fill">
            <a:extLst>
              <a:ext uri="{FF2B5EF4-FFF2-40B4-BE49-F238E27FC236}">
                <a16:creationId xmlns:a16="http://schemas.microsoft.com/office/drawing/2014/main" id="{A4C51D68-88F7-4A59-B908-526629BC6783}"/>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4378800" y="2699128"/>
            <a:ext cx="914400" cy="914400"/>
          </a:xfrm>
          <a:prstGeom prst="rect">
            <a:avLst/>
          </a:prstGeom>
        </p:spPr>
      </p:pic>
      <p:sp>
        <p:nvSpPr>
          <p:cNvPr id="23" name="TextBox 22">
            <a:extLst>
              <a:ext uri="{FF2B5EF4-FFF2-40B4-BE49-F238E27FC236}">
                <a16:creationId xmlns:a16="http://schemas.microsoft.com/office/drawing/2014/main" id="{9B7C37AB-6767-4A31-B305-FEBD2B13DF82}"/>
              </a:ext>
            </a:extLst>
          </p:cNvPr>
          <p:cNvSpPr txBox="1"/>
          <p:nvPr/>
        </p:nvSpPr>
        <p:spPr>
          <a:xfrm>
            <a:off x="5362053" y="2873689"/>
            <a:ext cx="1828799" cy="454891"/>
          </a:xfrm>
          <a:prstGeom prst="rect">
            <a:avLst/>
          </a:prstGeom>
        </p:spPr>
        <p:txBody>
          <a:bodyPr vert="horz" wrap="square" lIns="91440" tIns="45720" rIns="91440" bIns="45720" rtlCol="0">
            <a:noAutofit/>
          </a:bodyPr>
          <a:lstStyle/>
          <a:p>
            <a:pPr marL="0" indent="0">
              <a:buNone/>
            </a:pPr>
            <a:r>
              <a:rPr lang="nl-NL" b="1" dirty="0"/>
              <a:t>Analytische vaardigheden</a:t>
            </a:r>
          </a:p>
        </p:txBody>
      </p:sp>
      <p:pic>
        <p:nvPicPr>
          <p:cNvPr id="24" name="Graphic 23" descr="Speech with solid fill">
            <a:extLst>
              <a:ext uri="{FF2B5EF4-FFF2-40B4-BE49-F238E27FC236}">
                <a16:creationId xmlns:a16="http://schemas.microsoft.com/office/drawing/2014/main" id="{5B7545F7-A29E-4A94-B489-519B0566660B}"/>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rcRect/>
          <a:stretch/>
        </p:blipFill>
        <p:spPr>
          <a:xfrm>
            <a:off x="8094820" y="2699128"/>
            <a:ext cx="914400" cy="914400"/>
          </a:xfrm>
          <a:prstGeom prst="rect">
            <a:avLst/>
          </a:prstGeom>
        </p:spPr>
      </p:pic>
      <p:sp>
        <p:nvSpPr>
          <p:cNvPr id="25" name="TextBox 24">
            <a:extLst>
              <a:ext uri="{FF2B5EF4-FFF2-40B4-BE49-F238E27FC236}">
                <a16:creationId xmlns:a16="http://schemas.microsoft.com/office/drawing/2014/main" id="{790AE110-EF7F-433D-BF40-25FD3C54E9DE}"/>
              </a:ext>
            </a:extLst>
          </p:cNvPr>
          <p:cNvSpPr txBox="1"/>
          <p:nvPr/>
        </p:nvSpPr>
        <p:spPr>
          <a:xfrm>
            <a:off x="9078073" y="2873689"/>
            <a:ext cx="1828799" cy="454891"/>
          </a:xfrm>
          <a:prstGeom prst="rect">
            <a:avLst/>
          </a:prstGeom>
        </p:spPr>
        <p:txBody>
          <a:bodyPr vert="horz" wrap="square" lIns="91440" tIns="45720" rIns="91440" bIns="45720" rtlCol="0">
            <a:noAutofit/>
          </a:bodyPr>
          <a:lstStyle/>
          <a:p>
            <a:pPr marL="0" indent="0">
              <a:buNone/>
            </a:pPr>
            <a:r>
              <a:rPr lang="nl-NL" b="1" dirty="0"/>
              <a:t>Communicatie</a:t>
            </a:r>
          </a:p>
        </p:txBody>
      </p:sp>
    </p:spTree>
    <p:extLst>
      <p:ext uri="{BB962C8B-B14F-4D97-AF65-F5344CB8AC3E}">
        <p14:creationId xmlns:p14="http://schemas.microsoft.com/office/powerpoint/2010/main" val="25161505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E2DBD2C-362C-4D8E-AC7B-584BF194403E}"/>
              </a:ext>
            </a:extLst>
          </p:cNvPr>
          <p:cNvGraphicFramePr>
            <a:graphicFrameLocks noChangeAspect="1"/>
          </p:cNvGraphicFramePr>
          <p:nvPr>
            <p:custDataLst>
              <p:tags r:id="rId2"/>
            </p:custDataLst>
            <p:extLst>
              <p:ext uri="{D42A27DB-BD31-4B8C-83A1-F6EECF244321}">
                <p14:modId xmlns:p14="http://schemas.microsoft.com/office/powerpoint/2010/main" val="1237017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44"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250B19E0-EAFA-4ED6-84CB-9300C4D1E2A9}"/>
              </a:ext>
            </a:extLst>
          </p:cNvPr>
          <p:cNvSpPr>
            <a:spLocks noGrp="1"/>
          </p:cNvSpPr>
          <p:nvPr>
            <p:ph sz="quarter" idx="31"/>
          </p:nvPr>
        </p:nvSpPr>
        <p:spPr>
          <a:xfrm>
            <a:off x="662780" y="1636346"/>
            <a:ext cx="3087184" cy="4707617"/>
          </a:xfrm>
        </p:spPr>
        <p:txBody>
          <a:bodyPr tIns="54000" bIns="54000"/>
          <a:lstStyle/>
          <a:p>
            <a:pPr marL="0" indent="0">
              <a:buNone/>
            </a:pPr>
            <a:r>
              <a:rPr lang="nl-NL" b="1" dirty="0">
                <a:latin typeface="+mj-lt"/>
              </a:rPr>
              <a:t>Zoals bij elke nieuwe vaardigheid helpt het om (veel) te oefenen. </a:t>
            </a:r>
          </a:p>
          <a:p>
            <a:pPr marL="0" indent="0">
              <a:buNone/>
            </a:pPr>
            <a:r>
              <a:rPr lang="nl-NL" b="0" i="0" dirty="0">
                <a:solidFill>
                  <a:srgbClr val="000000"/>
                </a:solidFill>
                <a:effectLst/>
                <a:latin typeface="+mj-lt"/>
              </a:rPr>
              <a:t>Je kunt een aantal dingen doen om het echte case interview te simuleren:</a:t>
            </a:r>
          </a:p>
          <a:p>
            <a:r>
              <a:rPr lang="nl-NL" dirty="0">
                <a:latin typeface="+mj-lt"/>
              </a:rPr>
              <a:t>Oefen met p</a:t>
            </a:r>
            <a:r>
              <a:rPr lang="nl-NL" b="0" i="0" dirty="0">
                <a:solidFill>
                  <a:srgbClr val="000000"/>
                </a:solidFill>
                <a:effectLst/>
                <a:latin typeface="+mj-lt"/>
              </a:rPr>
              <a:t>en en papier om de case te structureren en op te lossen. </a:t>
            </a:r>
            <a:r>
              <a:rPr lang="nl-NL" dirty="0">
                <a:latin typeface="+mj-lt"/>
              </a:rPr>
              <a:t>Zorg dat je overzichtelijke aantekeningen maakt.</a:t>
            </a:r>
          </a:p>
          <a:p>
            <a:r>
              <a:rPr lang="nl-NL" b="0" i="0" dirty="0">
                <a:solidFill>
                  <a:srgbClr val="000000"/>
                </a:solidFill>
                <a:effectLst/>
                <a:latin typeface="+mj-lt"/>
              </a:rPr>
              <a:t>Oefen met hardop je antwoord uitleggen en stel je voor dat je met een opdrachtgever aan tafel zit. Neem deze persoon mee in je denkstappen.</a:t>
            </a:r>
          </a:p>
          <a:p>
            <a:r>
              <a:rPr lang="nl-NL" b="0" i="0" dirty="0">
                <a:solidFill>
                  <a:srgbClr val="000000"/>
                </a:solidFill>
                <a:effectLst/>
                <a:latin typeface="+mj-lt"/>
              </a:rPr>
              <a:t>Spreek ook een keer live of online met iemand anders af om een case te oefenen. </a:t>
            </a:r>
            <a:r>
              <a:rPr lang="nl-NL" dirty="0">
                <a:latin typeface="+mj-lt"/>
              </a:rPr>
              <a:t>Heb je niemand in je eigen netwerk hiervoor? V</a:t>
            </a:r>
            <a:r>
              <a:rPr lang="nl-NL" b="0" i="0" dirty="0">
                <a:solidFill>
                  <a:srgbClr val="000000"/>
                </a:solidFill>
                <a:effectLst/>
                <a:latin typeface="+mj-lt"/>
              </a:rPr>
              <a:t>ia bijvoorbeeld Facebook zijn er groepen te vinden gericht op samen cases oefenen.</a:t>
            </a:r>
            <a:endParaRPr lang="nl-NL" dirty="0">
              <a:latin typeface="+mj-lt"/>
            </a:endParaRPr>
          </a:p>
          <a:p>
            <a:pPr marL="0" indent="0" algn="l">
              <a:buNone/>
            </a:pPr>
            <a:r>
              <a:rPr lang="nl-NL" dirty="0">
                <a:latin typeface="+mj-lt"/>
              </a:rPr>
              <a:t> </a:t>
            </a:r>
          </a:p>
        </p:txBody>
      </p:sp>
      <p:sp>
        <p:nvSpPr>
          <p:cNvPr id="3" name="Text Placeholder 2">
            <a:extLst>
              <a:ext uri="{FF2B5EF4-FFF2-40B4-BE49-F238E27FC236}">
                <a16:creationId xmlns:a16="http://schemas.microsoft.com/office/drawing/2014/main" id="{B63FB5C9-A051-4696-880A-C30490B85EE6}"/>
              </a:ext>
            </a:extLst>
          </p:cNvPr>
          <p:cNvSpPr>
            <a:spLocks noGrp="1"/>
          </p:cNvSpPr>
          <p:nvPr>
            <p:ph type="body" sz="quarter" idx="20"/>
          </p:nvPr>
        </p:nvSpPr>
        <p:spPr/>
        <p:txBody>
          <a:bodyPr/>
          <a:lstStyle/>
          <a:p>
            <a:endParaRPr lang="nl-NL"/>
          </a:p>
        </p:txBody>
      </p:sp>
      <p:sp>
        <p:nvSpPr>
          <p:cNvPr id="4" name="Text Placeholder 3">
            <a:extLst>
              <a:ext uri="{FF2B5EF4-FFF2-40B4-BE49-F238E27FC236}">
                <a16:creationId xmlns:a16="http://schemas.microsoft.com/office/drawing/2014/main" id="{81E908B4-BB88-4F11-A621-8D85D9561221}"/>
              </a:ext>
            </a:extLst>
          </p:cNvPr>
          <p:cNvSpPr>
            <a:spLocks noGrp="1"/>
          </p:cNvSpPr>
          <p:nvPr>
            <p:ph type="body" sz="quarter" idx="14"/>
          </p:nvPr>
        </p:nvSpPr>
        <p:spPr/>
        <p:txBody>
          <a:bodyPr/>
          <a:lstStyle/>
          <a:p>
            <a:endParaRPr lang="nl-NL"/>
          </a:p>
        </p:txBody>
      </p:sp>
      <p:sp>
        <p:nvSpPr>
          <p:cNvPr id="5" name="Title 4">
            <a:extLst>
              <a:ext uri="{FF2B5EF4-FFF2-40B4-BE49-F238E27FC236}">
                <a16:creationId xmlns:a16="http://schemas.microsoft.com/office/drawing/2014/main" id="{CEAC4F9E-EDDD-4461-B24A-A62910871423}"/>
              </a:ext>
            </a:extLst>
          </p:cNvPr>
          <p:cNvSpPr>
            <a:spLocks noGrp="1"/>
          </p:cNvSpPr>
          <p:nvPr>
            <p:ph type="title"/>
          </p:nvPr>
        </p:nvSpPr>
        <p:spPr/>
        <p:txBody>
          <a:bodyPr vert="horz"/>
          <a:lstStyle/>
          <a:p>
            <a:r>
              <a:rPr lang="nl-NL" dirty="0"/>
              <a:t>Hoe voor te bereiden op een case interview?</a:t>
            </a:r>
          </a:p>
        </p:txBody>
      </p:sp>
      <p:sp>
        <p:nvSpPr>
          <p:cNvPr id="9" name="TextBox 8">
            <a:extLst>
              <a:ext uri="{FF2B5EF4-FFF2-40B4-BE49-F238E27FC236}">
                <a16:creationId xmlns:a16="http://schemas.microsoft.com/office/drawing/2014/main" id="{0DA86E3A-2743-4C38-82EC-886D87B4DFE6}"/>
              </a:ext>
            </a:extLst>
          </p:cNvPr>
          <p:cNvSpPr txBox="1"/>
          <p:nvPr/>
        </p:nvSpPr>
        <p:spPr>
          <a:xfrm>
            <a:off x="3888509" y="1626456"/>
            <a:ext cx="7640711" cy="4845583"/>
          </a:xfrm>
          <a:prstGeom prst="rect">
            <a:avLst/>
          </a:prstGeom>
          <a:noFill/>
        </p:spPr>
        <p:txBody>
          <a:bodyPr wrap="square" tIns="54000" bIns="54000">
            <a:spAutoFit/>
          </a:bodyPr>
          <a:lstStyle/>
          <a:p>
            <a:pPr marL="0" indent="0" algn="l">
              <a:buNone/>
            </a:pPr>
            <a:r>
              <a:rPr lang="nl-NL" b="1" dirty="0">
                <a:latin typeface="+mj-lt"/>
              </a:rPr>
              <a:t>Naast de oefencase in dit document kun je (online) veel oefenmateriaal vinden:</a:t>
            </a:r>
          </a:p>
          <a:p>
            <a:pPr marL="0" indent="0">
              <a:buNone/>
            </a:pPr>
            <a:r>
              <a:rPr lang="nl-NL" dirty="0">
                <a:latin typeface="+mj-lt"/>
              </a:rPr>
              <a:t>Ondanks dat deze vaak geen maatschappelijk of publiek karakter hebben zijn deze nuttig voor de voorbereiding. </a:t>
            </a:r>
            <a:r>
              <a:rPr lang="nl-NL" b="0" i="0" dirty="0">
                <a:solidFill>
                  <a:srgbClr val="000000"/>
                </a:solidFill>
                <a:effectLst/>
                <a:latin typeface="+mj-lt"/>
              </a:rPr>
              <a:t>Enkele voorbeelden van nuttige bronnen:</a:t>
            </a:r>
          </a:p>
          <a:p>
            <a:r>
              <a:rPr lang="en-US" dirty="0">
                <a:latin typeface="+mj-lt"/>
              </a:rPr>
              <a:t>Het </a:t>
            </a:r>
            <a:r>
              <a:rPr lang="en-US" dirty="0" err="1">
                <a:latin typeface="+mj-lt"/>
              </a:rPr>
              <a:t>boek</a:t>
            </a:r>
            <a:r>
              <a:rPr lang="en-US" dirty="0">
                <a:latin typeface="+mj-lt"/>
              </a:rPr>
              <a:t> ‘Case in Point: Case Interview Preparation</a:t>
            </a:r>
            <a:r>
              <a:rPr lang="nl-NL" dirty="0">
                <a:latin typeface="+mj-lt"/>
              </a:rPr>
              <a:t>’ van Marc P. </a:t>
            </a:r>
            <a:r>
              <a:rPr lang="nl-NL" dirty="0" err="1">
                <a:latin typeface="+mj-lt"/>
              </a:rPr>
              <a:t>Cosentino</a:t>
            </a:r>
            <a:r>
              <a:rPr lang="nl-NL" dirty="0">
                <a:latin typeface="+mj-lt"/>
              </a:rPr>
              <a:t> </a:t>
            </a:r>
          </a:p>
          <a:p>
            <a:r>
              <a:rPr lang="nl-NL" dirty="0" err="1">
                <a:latin typeface="+mj-lt"/>
                <a:hlinkClick r:id="rId6"/>
              </a:rPr>
              <a:t>Caseinterview</a:t>
            </a:r>
            <a:r>
              <a:rPr lang="nl-NL" dirty="0">
                <a:latin typeface="+mj-lt"/>
              </a:rPr>
              <a:t>  van Victor </a:t>
            </a:r>
            <a:r>
              <a:rPr lang="nl-NL" dirty="0" err="1">
                <a:latin typeface="+mj-lt"/>
              </a:rPr>
              <a:t>Cheng</a:t>
            </a:r>
            <a:endParaRPr lang="nl-NL" dirty="0">
              <a:latin typeface="+mj-lt"/>
            </a:endParaRPr>
          </a:p>
          <a:p>
            <a:r>
              <a:rPr lang="nl-NL" dirty="0" err="1">
                <a:latin typeface="+mj-lt"/>
                <a:hlinkClick r:id="rId7"/>
              </a:rPr>
              <a:t>Crafting</a:t>
            </a:r>
            <a:r>
              <a:rPr lang="nl-NL" dirty="0">
                <a:latin typeface="+mj-lt"/>
                <a:hlinkClick r:id="rId7"/>
              </a:rPr>
              <a:t> cases</a:t>
            </a:r>
            <a:r>
              <a:rPr lang="nl-NL" dirty="0">
                <a:latin typeface="+mj-lt"/>
              </a:rPr>
              <a:t>  van oud McKinsey en Bain consultants</a:t>
            </a:r>
          </a:p>
          <a:p>
            <a:r>
              <a:rPr lang="nl-NL" dirty="0">
                <a:latin typeface="+mj-lt"/>
              </a:rPr>
              <a:t>Cases op de website van andere kantoren. </a:t>
            </a:r>
          </a:p>
          <a:p>
            <a:pPr lvl="1"/>
            <a:r>
              <a:rPr lang="nl-NL" dirty="0" err="1">
                <a:latin typeface="+mj-lt"/>
                <a:hlinkClick r:id="rId8"/>
              </a:rPr>
              <a:t>Gupta</a:t>
            </a:r>
            <a:r>
              <a:rPr lang="nl-NL" dirty="0">
                <a:latin typeface="+mj-lt"/>
                <a:hlinkClick r:id="rId8"/>
              </a:rPr>
              <a:t> </a:t>
            </a:r>
            <a:r>
              <a:rPr lang="nl-NL" dirty="0" err="1">
                <a:latin typeface="+mj-lt"/>
                <a:hlinkClick r:id="rId8"/>
              </a:rPr>
              <a:t>Strategist</a:t>
            </a:r>
            <a:endParaRPr lang="nl-NL" dirty="0">
              <a:latin typeface="+mj-lt"/>
            </a:endParaRPr>
          </a:p>
          <a:p>
            <a:pPr lvl="1"/>
            <a:r>
              <a:rPr lang="nl-NL" dirty="0">
                <a:latin typeface="+mj-lt"/>
                <a:hlinkClick r:id="rId9"/>
              </a:rPr>
              <a:t>Boston Consulting Group</a:t>
            </a:r>
            <a:endParaRPr lang="nl-NL" dirty="0">
              <a:latin typeface="+mj-lt"/>
            </a:endParaRPr>
          </a:p>
          <a:p>
            <a:pPr lvl="1"/>
            <a:r>
              <a:rPr lang="nl-NL" dirty="0">
                <a:latin typeface="+mj-lt"/>
                <a:hlinkClick r:id="rId10"/>
              </a:rPr>
              <a:t>McKinsey</a:t>
            </a:r>
            <a:endParaRPr lang="nl-NL" dirty="0">
              <a:latin typeface="+mj-lt"/>
            </a:endParaRPr>
          </a:p>
          <a:p>
            <a:pPr lvl="1"/>
            <a:r>
              <a:rPr lang="nl-NL" dirty="0">
                <a:latin typeface="+mj-lt"/>
                <a:hlinkClick r:id="rId11"/>
              </a:rPr>
              <a:t>Bain</a:t>
            </a:r>
            <a:endParaRPr lang="nl-NL" dirty="0">
              <a:latin typeface="+mj-lt"/>
            </a:endParaRPr>
          </a:p>
          <a:p>
            <a:pPr lvl="1"/>
            <a:r>
              <a:rPr lang="nl-NL" dirty="0">
                <a:latin typeface="+mj-lt"/>
                <a:hlinkClick r:id="rId12"/>
              </a:rPr>
              <a:t>En nog veel meer</a:t>
            </a:r>
            <a:endParaRPr lang="nl-NL" dirty="0">
              <a:latin typeface="+mj-lt"/>
            </a:endParaRPr>
          </a:p>
          <a:p>
            <a:pPr marL="0" indent="0">
              <a:buNone/>
            </a:pPr>
            <a:endParaRPr lang="nl-NL" dirty="0">
              <a:latin typeface="+mj-lt"/>
            </a:endParaRPr>
          </a:p>
          <a:p>
            <a:pPr marL="0" indent="0">
              <a:buNone/>
            </a:pPr>
            <a:endParaRPr lang="nl-NL" b="1" dirty="0">
              <a:latin typeface="+mj-lt"/>
            </a:endParaRPr>
          </a:p>
          <a:p>
            <a:pPr marL="0" indent="0">
              <a:buNone/>
            </a:pPr>
            <a:endParaRPr lang="nl-NL" b="1" dirty="0">
              <a:latin typeface="+mj-lt"/>
            </a:endParaRPr>
          </a:p>
          <a:p>
            <a:pPr marL="0" indent="0">
              <a:buNone/>
            </a:pPr>
            <a:endParaRPr lang="nl-NL" b="1" dirty="0">
              <a:latin typeface="+mj-lt"/>
            </a:endParaRPr>
          </a:p>
          <a:p>
            <a:pPr marL="0" indent="0">
              <a:buNone/>
            </a:pPr>
            <a:endParaRPr lang="nl-NL" b="1" dirty="0">
              <a:latin typeface="+mj-lt"/>
            </a:endParaRPr>
          </a:p>
          <a:p>
            <a:pPr marL="0" indent="0">
              <a:buNone/>
            </a:pPr>
            <a:r>
              <a:rPr lang="nl-NL" b="1" dirty="0">
                <a:latin typeface="+mj-lt"/>
              </a:rPr>
              <a:t>Tot slot: </a:t>
            </a:r>
            <a:r>
              <a:rPr lang="nl-NL" dirty="0">
                <a:latin typeface="+mj-lt"/>
              </a:rPr>
              <a:t>Het puzzelen, het doorrekenen en het inzetten van je creativiteit zijn activiteiten die je ook in het dagelijks werkende leven bij It’s Public zult tegenkomen. Als het oplossen van een (maatschappelijke) case jou energie geeft, dan zal het werk bij It’s Public jou ook energie geven.</a:t>
            </a:r>
          </a:p>
        </p:txBody>
      </p:sp>
      <p:pic>
        <p:nvPicPr>
          <p:cNvPr id="8" name="Picture 7">
            <a:extLst>
              <a:ext uri="{FF2B5EF4-FFF2-40B4-BE49-F238E27FC236}">
                <a16:creationId xmlns:a16="http://schemas.microsoft.com/office/drawing/2014/main" id="{38C7A589-9023-4E98-8004-C88817D861C7}"/>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rot="21275921">
            <a:off x="7196520" y="4436245"/>
            <a:ext cx="1742374" cy="1128226"/>
          </a:xfrm>
          <a:prstGeom prst="rect">
            <a:avLst/>
          </a:prstGeom>
          <a:ln w="9525">
            <a:solidFill>
              <a:srgbClr val="22777B"/>
            </a:solidFill>
          </a:ln>
        </p:spPr>
      </p:pic>
      <p:pic>
        <p:nvPicPr>
          <p:cNvPr id="13" name="Picture 12">
            <a:extLst>
              <a:ext uri="{FF2B5EF4-FFF2-40B4-BE49-F238E27FC236}">
                <a16:creationId xmlns:a16="http://schemas.microsoft.com/office/drawing/2014/main" id="{F8233CA3-870A-4DA2-837E-BBCE94E56806}"/>
              </a:ext>
            </a:extLst>
          </p:cNvPr>
          <p:cNvPicPr>
            <a:picLocks noChangeAspect="1"/>
          </p:cNvPicPr>
          <p:nvPr/>
        </p:nvPicPr>
        <p:blipFill>
          <a:blip r:embed="rId14"/>
          <a:stretch>
            <a:fillRect/>
          </a:stretch>
        </p:blipFill>
        <p:spPr>
          <a:xfrm rot="473813">
            <a:off x="8435848" y="2896566"/>
            <a:ext cx="2540504" cy="1291782"/>
          </a:xfrm>
          <a:prstGeom prst="rect">
            <a:avLst/>
          </a:prstGeom>
          <a:ln w="9525">
            <a:solidFill>
              <a:srgbClr val="22777B"/>
            </a:solidFill>
          </a:ln>
        </p:spPr>
      </p:pic>
      <p:pic>
        <p:nvPicPr>
          <p:cNvPr id="15" name="Picture 14">
            <a:extLst>
              <a:ext uri="{FF2B5EF4-FFF2-40B4-BE49-F238E27FC236}">
                <a16:creationId xmlns:a16="http://schemas.microsoft.com/office/drawing/2014/main" id="{AD4FE646-94BC-4FEE-A3BE-16964B0A1C29}"/>
              </a:ext>
            </a:extLst>
          </p:cNvPr>
          <p:cNvPicPr>
            <a:picLocks noChangeAspect="1"/>
          </p:cNvPicPr>
          <p:nvPr/>
        </p:nvPicPr>
        <p:blipFill>
          <a:blip r:embed="rId15"/>
          <a:stretch>
            <a:fillRect/>
          </a:stretch>
        </p:blipFill>
        <p:spPr>
          <a:xfrm>
            <a:off x="4206333" y="5000358"/>
            <a:ext cx="2438402" cy="457822"/>
          </a:xfrm>
          <a:prstGeom prst="rect">
            <a:avLst/>
          </a:prstGeom>
          <a:ln w="9525">
            <a:solidFill>
              <a:srgbClr val="22777B"/>
            </a:solidFill>
          </a:ln>
        </p:spPr>
      </p:pic>
      <p:sp>
        <p:nvSpPr>
          <p:cNvPr id="17" name="Freeform: Shape 16">
            <a:extLst>
              <a:ext uri="{FF2B5EF4-FFF2-40B4-BE49-F238E27FC236}">
                <a16:creationId xmlns:a16="http://schemas.microsoft.com/office/drawing/2014/main" id="{621D1300-57D8-4968-B73A-DDFBF61FD82A}"/>
              </a:ext>
            </a:extLst>
          </p:cNvPr>
          <p:cNvSpPr/>
          <p:nvPr/>
        </p:nvSpPr>
        <p:spPr>
          <a:xfrm>
            <a:off x="5708764" y="3816928"/>
            <a:ext cx="1226820" cy="777240"/>
          </a:xfrm>
          <a:custGeom>
            <a:avLst/>
            <a:gdLst>
              <a:gd name="connsiteX0" fmla="*/ 0 w 1226820"/>
              <a:gd name="connsiteY0" fmla="*/ 0 h 777240"/>
              <a:gd name="connsiteX1" fmla="*/ 563880 w 1226820"/>
              <a:gd name="connsiteY1" fmla="*/ 579120 h 777240"/>
              <a:gd name="connsiteX2" fmla="*/ 1226820 w 1226820"/>
              <a:gd name="connsiteY2" fmla="*/ 777240 h 777240"/>
            </a:gdLst>
            <a:ahLst/>
            <a:cxnLst>
              <a:cxn ang="0">
                <a:pos x="connsiteX0" y="connsiteY0"/>
              </a:cxn>
              <a:cxn ang="0">
                <a:pos x="connsiteX1" y="connsiteY1"/>
              </a:cxn>
              <a:cxn ang="0">
                <a:pos x="connsiteX2" y="connsiteY2"/>
              </a:cxn>
            </a:cxnLst>
            <a:rect l="l" t="t" r="r" b="b"/>
            <a:pathLst>
              <a:path w="1226820" h="777240">
                <a:moveTo>
                  <a:pt x="0" y="0"/>
                </a:moveTo>
                <a:cubicBezTo>
                  <a:pt x="179705" y="224790"/>
                  <a:pt x="359410" y="449580"/>
                  <a:pt x="563880" y="579120"/>
                </a:cubicBezTo>
                <a:cubicBezTo>
                  <a:pt x="768350" y="708660"/>
                  <a:pt x="997585" y="742950"/>
                  <a:pt x="1226820" y="777240"/>
                </a:cubicBezTo>
              </a:path>
            </a:pathLst>
          </a:custGeom>
          <a:noFill/>
          <a:ln w="28575" cap="flat">
            <a:solidFill>
              <a:srgbClr val="22777B"/>
            </a:solidFill>
            <a:prstDash val="dash"/>
            <a:miter/>
            <a:headEnd w="med" len="med"/>
            <a:tailEnd type="triangle" w="med" len="med"/>
          </a:ln>
        </p:spPr>
        <p:txBody>
          <a:bodyPr rtlCol="0" anchor="ctr"/>
          <a:lstStyle/>
          <a:p>
            <a:pPr algn="ctr"/>
            <a:endParaRPr lang="nl-NL"/>
          </a:p>
        </p:txBody>
      </p:sp>
      <p:sp>
        <p:nvSpPr>
          <p:cNvPr id="18" name="Freeform: Shape 17">
            <a:extLst>
              <a:ext uri="{FF2B5EF4-FFF2-40B4-BE49-F238E27FC236}">
                <a16:creationId xmlns:a16="http://schemas.microsoft.com/office/drawing/2014/main" id="{0D58DD6F-06D1-425C-A9EB-400A35368C73}"/>
              </a:ext>
            </a:extLst>
          </p:cNvPr>
          <p:cNvSpPr/>
          <p:nvPr/>
        </p:nvSpPr>
        <p:spPr>
          <a:xfrm>
            <a:off x="5690292" y="3374779"/>
            <a:ext cx="2499360" cy="202738"/>
          </a:xfrm>
          <a:custGeom>
            <a:avLst/>
            <a:gdLst>
              <a:gd name="connsiteX0" fmla="*/ 0 w 2499360"/>
              <a:gd name="connsiteY0" fmla="*/ 73157 h 202738"/>
              <a:gd name="connsiteX1" fmla="*/ 784860 w 2499360"/>
              <a:gd name="connsiteY1" fmla="*/ 4577 h 202738"/>
              <a:gd name="connsiteX2" fmla="*/ 2019300 w 2499360"/>
              <a:gd name="connsiteY2" fmla="*/ 187457 h 202738"/>
              <a:gd name="connsiteX3" fmla="*/ 2499360 w 2499360"/>
              <a:gd name="connsiteY3" fmla="*/ 179837 h 202738"/>
            </a:gdLst>
            <a:ahLst/>
            <a:cxnLst>
              <a:cxn ang="0">
                <a:pos x="connsiteX0" y="connsiteY0"/>
              </a:cxn>
              <a:cxn ang="0">
                <a:pos x="connsiteX1" y="connsiteY1"/>
              </a:cxn>
              <a:cxn ang="0">
                <a:pos x="connsiteX2" y="connsiteY2"/>
              </a:cxn>
              <a:cxn ang="0">
                <a:pos x="connsiteX3" y="connsiteY3"/>
              </a:cxn>
            </a:cxnLst>
            <a:rect l="l" t="t" r="r" b="b"/>
            <a:pathLst>
              <a:path w="2499360" h="202738">
                <a:moveTo>
                  <a:pt x="0" y="73157"/>
                </a:moveTo>
                <a:cubicBezTo>
                  <a:pt x="224155" y="29342"/>
                  <a:pt x="448310" y="-14473"/>
                  <a:pt x="784860" y="4577"/>
                </a:cubicBezTo>
                <a:cubicBezTo>
                  <a:pt x="1121410" y="23627"/>
                  <a:pt x="1733550" y="158247"/>
                  <a:pt x="2019300" y="187457"/>
                </a:cubicBezTo>
                <a:cubicBezTo>
                  <a:pt x="2305050" y="216667"/>
                  <a:pt x="2402205" y="198252"/>
                  <a:pt x="2499360" y="179837"/>
                </a:cubicBezTo>
              </a:path>
            </a:pathLst>
          </a:custGeom>
          <a:noFill/>
          <a:ln w="28575" cap="flat">
            <a:solidFill>
              <a:srgbClr val="22777B"/>
            </a:solidFill>
            <a:prstDash val="dash"/>
            <a:miter/>
            <a:headEnd w="med" len="med"/>
            <a:tailEnd type="triangle" w="med" len="med"/>
          </a:ln>
        </p:spPr>
        <p:txBody>
          <a:bodyPr rtlCol="0" anchor="ctr"/>
          <a:lstStyle/>
          <a:p>
            <a:pPr algn="ctr"/>
            <a:endParaRPr lang="nl-NL"/>
          </a:p>
        </p:txBody>
      </p:sp>
      <p:sp>
        <p:nvSpPr>
          <p:cNvPr id="19" name="Freeform: Shape 18">
            <a:extLst>
              <a:ext uri="{FF2B5EF4-FFF2-40B4-BE49-F238E27FC236}">
                <a16:creationId xmlns:a16="http://schemas.microsoft.com/office/drawing/2014/main" id="{5AB97220-B240-4897-A287-178BBA4C368A}"/>
              </a:ext>
            </a:extLst>
          </p:cNvPr>
          <p:cNvSpPr/>
          <p:nvPr/>
        </p:nvSpPr>
        <p:spPr>
          <a:xfrm rot="16900022" flipH="1">
            <a:off x="5594093" y="4517359"/>
            <a:ext cx="384153" cy="299902"/>
          </a:xfrm>
          <a:custGeom>
            <a:avLst/>
            <a:gdLst>
              <a:gd name="connsiteX0" fmla="*/ 0 w 1226820"/>
              <a:gd name="connsiteY0" fmla="*/ 0 h 777240"/>
              <a:gd name="connsiteX1" fmla="*/ 563880 w 1226820"/>
              <a:gd name="connsiteY1" fmla="*/ 579120 h 777240"/>
              <a:gd name="connsiteX2" fmla="*/ 1226820 w 1226820"/>
              <a:gd name="connsiteY2" fmla="*/ 777240 h 777240"/>
            </a:gdLst>
            <a:ahLst/>
            <a:cxnLst>
              <a:cxn ang="0">
                <a:pos x="connsiteX0" y="connsiteY0"/>
              </a:cxn>
              <a:cxn ang="0">
                <a:pos x="connsiteX1" y="connsiteY1"/>
              </a:cxn>
              <a:cxn ang="0">
                <a:pos x="connsiteX2" y="connsiteY2"/>
              </a:cxn>
            </a:cxnLst>
            <a:rect l="l" t="t" r="r" b="b"/>
            <a:pathLst>
              <a:path w="1226820" h="777240">
                <a:moveTo>
                  <a:pt x="0" y="0"/>
                </a:moveTo>
                <a:cubicBezTo>
                  <a:pt x="179705" y="224790"/>
                  <a:pt x="359410" y="449580"/>
                  <a:pt x="563880" y="579120"/>
                </a:cubicBezTo>
                <a:cubicBezTo>
                  <a:pt x="768350" y="708660"/>
                  <a:pt x="997585" y="742950"/>
                  <a:pt x="1226820" y="777240"/>
                </a:cubicBezTo>
              </a:path>
            </a:pathLst>
          </a:custGeom>
          <a:noFill/>
          <a:ln w="28575" cap="flat">
            <a:solidFill>
              <a:srgbClr val="22777B"/>
            </a:solidFill>
            <a:prstDash val="dash"/>
            <a:miter/>
            <a:headEnd w="med" len="med"/>
            <a:tailEnd type="triangle" w="med" len="med"/>
          </a:ln>
        </p:spPr>
        <p:txBody>
          <a:bodyPr rtlCol="0" anchor="ctr"/>
          <a:lstStyle/>
          <a:p>
            <a:pPr algn="ctr"/>
            <a:endParaRPr lang="nl-NL"/>
          </a:p>
        </p:txBody>
      </p:sp>
    </p:spTree>
    <p:extLst>
      <p:ext uri="{BB962C8B-B14F-4D97-AF65-F5344CB8AC3E}">
        <p14:creationId xmlns:p14="http://schemas.microsoft.com/office/powerpoint/2010/main" val="39207484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5D90AF9-FC39-4D64-A5D0-CEE2D6DBB46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19" name="think-cell Slide" r:id="rId4" imgW="526" imgH="526" progId="TCLayout.ActiveDocument.1">
                  <p:embed/>
                </p:oleObj>
              </mc:Choice>
              <mc:Fallback>
                <p:oleObj name="think-cell Slide" r:id="rId4" imgW="526" imgH="526" progId="TCLayout.ActiveDocument.1">
                  <p:embed/>
                  <p:pic>
                    <p:nvPicPr>
                      <p:cNvPr id="7" name="Object 6" hidden="1">
                        <a:extLst>
                          <a:ext uri="{FF2B5EF4-FFF2-40B4-BE49-F238E27FC236}">
                            <a16:creationId xmlns:a16="http://schemas.microsoft.com/office/drawing/2014/main" id="{E5D90AF9-FC39-4D64-A5D0-CEE2D6DBB4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85BBA836-1674-4455-B341-534D8C6AB864}"/>
              </a:ext>
            </a:extLst>
          </p:cNvPr>
          <p:cNvSpPr>
            <a:spLocks noGrp="1"/>
          </p:cNvSpPr>
          <p:nvPr>
            <p:ph type="body" sz="quarter" idx="15"/>
          </p:nvPr>
        </p:nvSpPr>
        <p:spPr>
          <a:xfrm>
            <a:off x="6501127" y="1785144"/>
            <a:ext cx="4680000" cy="1095621"/>
          </a:xfrm>
          <a:prstGeom prst="rect">
            <a:avLst/>
          </a:prstGeom>
          <a:solidFill>
            <a:schemeClr val="tx2"/>
          </a:solidFill>
          <a:ln w="28575">
            <a:solidFill>
              <a:srgbClr val="22777B"/>
            </a:solidFill>
          </a:ln>
        </p:spPr>
        <p:txBody>
          <a:bodyPr anchor="ctr"/>
          <a:lstStyle/>
          <a:p>
            <a:r>
              <a:rPr lang="en-GB" sz="2800" b="1" cap="none" dirty="0" err="1">
                <a:solidFill>
                  <a:schemeClr val="bg1"/>
                </a:solidFill>
              </a:rPr>
              <a:t>Oefencase</a:t>
            </a:r>
            <a:endParaRPr lang="en-US" sz="2800" b="1" dirty="0">
              <a:solidFill>
                <a:srgbClr val="FFFFFF"/>
              </a:solidFill>
            </a:endParaRPr>
          </a:p>
        </p:txBody>
      </p:sp>
      <p:sp>
        <p:nvSpPr>
          <p:cNvPr id="8" name="Text Placeholder 7">
            <a:extLst>
              <a:ext uri="{FF2B5EF4-FFF2-40B4-BE49-F238E27FC236}">
                <a16:creationId xmlns:a16="http://schemas.microsoft.com/office/drawing/2014/main" id="{3CAF7FE7-4A9A-4F2D-8556-43437A085D27}"/>
              </a:ext>
            </a:extLst>
          </p:cNvPr>
          <p:cNvSpPr>
            <a:spLocks noGrp="1"/>
          </p:cNvSpPr>
          <p:nvPr>
            <p:ph type="body" sz="quarter" idx="13"/>
          </p:nvPr>
        </p:nvSpPr>
        <p:spPr>
          <a:xfrm>
            <a:off x="1011238" y="1785938"/>
            <a:ext cx="4679950" cy="1095375"/>
          </a:xfrm>
          <a:prstGeom prst="rect">
            <a:avLst/>
          </a:prstGeom>
          <a:solidFill>
            <a:schemeClr val="tx2"/>
          </a:solidFill>
          <a:ln w="9525">
            <a:solidFill>
              <a:srgbClr val="22777B"/>
            </a:solidFill>
          </a:ln>
        </p:spPr>
        <p:txBody>
          <a:bodyPr anchor="ctr"/>
          <a:lstStyle/>
          <a:p>
            <a:r>
              <a:rPr lang="nl-NL" sz="2800" b="1" dirty="0">
                <a:solidFill>
                  <a:srgbClr val="FFFFFF"/>
                </a:solidFill>
              </a:rPr>
              <a:t>Uitleg</a:t>
            </a:r>
            <a:endParaRPr lang="en-US" sz="1800" b="1" dirty="0">
              <a:solidFill>
                <a:srgbClr val="FFFFFF"/>
              </a:solidFill>
            </a:endParaRPr>
          </a:p>
        </p:txBody>
      </p:sp>
      <p:pic>
        <p:nvPicPr>
          <p:cNvPr id="16" name="Picture Placeholder 15" descr="A group of people sitting at desks in a classroom&#10;&#10;Description automatically generated with medium confidence">
            <a:extLst>
              <a:ext uri="{FF2B5EF4-FFF2-40B4-BE49-F238E27FC236}">
                <a16:creationId xmlns:a16="http://schemas.microsoft.com/office/drawing/2014/main" id="{5F185E14-0BBC-4517-9D85-1D83B0F389D7}"/>
              </a:ext>
            </a:extLst>
          </p:cNvPr>
          <p:cNvPicPr>
            <a:picLocks noGrp="1" noChangeAspect="1"/>
          </p:cNvPicPr>
          <p:nvPr>
            <p:ph type="pic" sz="quarter" idx="16"/>
          </p:nvPr>
        </p:nvPicPr>
        <p:blipFill>
          <a:blip r:embed="rId6" cstate="hqprint">
            <a:extLst>
              <a:ext uri="{28A0092B-C50C-407E-A947-70E740481C1C}">
                <a14:useLocalDpi xmlns:a14="http://schemas.microsoft.com/office/drawing/2010/main"/>
              </a:ext>
            </a:extLst>
          </a:blip>
          <a:srcRect/>
          <a:stretch>
            <a:fillRect/>
          </a:stretch>
        </p:blipFill>
        <p:spPr>
          <a:xfrm>
            <a:off x="6500813" y="2880766"/>
            <a:ext cx="4680314" cy="3015210"/>
          </a:xfrm>
          <a:prstGeom prst="rect">
            <a:avLst/>
          </a:prstGeom>
          <a:ln w="28575">
            <a:noFill/>
          </a:ln>
          <a:extLst>
            <a:ext uri="{91240B29-F687-4F45-9708-019B960494DF}">
              <a14:hiddenLine xmlns:a14="http://schemas.microsoft.com/office/drawing/2010/main" w="28575">
                <a:solidFill>
                  <a:schemeClr val="accent1"/>
                </a:solidFill>
              </a14:hiddenLine>
            </a:ext>
          </a:extLst>
        </p:spPr>
      </p:pic>
      <p:pic>
        <p:nvPicPr>
          <p:cNvPr id="14" name="Picture Placeholder 13" descr="A person writing on a piece of paper&#10;&#10;Description automatically generated with medium confidence">
            <a:extLst>
              <a:ext uri="{FF2B5EF4-FFF2-40B4-BE49-F238E27FC236}">
                <a16:creationId xmlns:a16="http://schemas.microsoft.com/office/drawing/2014/main" id="{2CBB5E1D-5A04-4635-928D-64D61577096B}"/>
              </a:ext>
            </a:extLst>
          </p:cNvPr>
          <p:cNvPicPr>
            <a:picLocks noGrp="1" noChangeAspect="1"/>
          </p:cNvPicPr>
          <p:nvPr>
            <p:ph type="pic" sz="quarter" idx="14"/>
          </p:nvPr>
        </p:nvPicPr>
        <p:blipFill>
          <a:blip r:embed="rId7" cstate="hqprint">
            <a:extLst>
              <a:ext uri="{28A0092B-C50C-407E-A947-70E740481C1C}">
                <a14:useLocalDpi xmlns:a14="http://schemas.microsoft.com/office/drawing/2010/main"/>
              </a:ext>
            </a:extLst>
          </a:blip>
          <a:srcRect/>
          <a:stretch>
            <a:fillRect/>
          </a:stretch>
        </p:blipFill>
        <p:spPr>
          <a:xfrm>
            <a:off x="1010874" y="2880766"/>
            <a:ext cx="4680000" cy="3015210"/>
          </a:xfrm>
          <a:prstGeom prst="rect">
            <a:avLst/>
          </a:prstGeom>
          <a:ln w="28575">
            <a:noFill/>
          </a:ln>
          <a:extLst>
            <a:ext uri="{91240B29-F687-4F45-9708-019B960494DF}">
              <a14:hiddenLine xmlns:a14="http://schemas.microsoft.com/office/drawing/2010/main" w="28575">
                <a:solidFill>
                  <a:schemeClr val="accent1"/>
                </a:solidFill>
              </a14:hiddenLine>
            </a:ext>
          </a:extLst>
        </p:spPr>
      </p:pic>
      <p:sp>
        <p:nvSpPr>
          <p:cNvPr id="19" name="Rectangle 18">
            <a:extLst>
              <a:ext uri="{FF2B5EF4-FFF2-40B4-BE49-F238E27FC236}">
                <a16:creationId xmlns:a16="http://schemas.microsoft.com/office/drawing/2014/main" id="{B963A3D5-5B0F-4CE3-B6E1-3D8D0597AA81}"/>
              </a:ext>
            </a:extLst>
          </p:cNvPr>
          <p:cNvSpPr/>
          <p:nvPr/>
        </p:nvSpPr>
        <p:spPr>
          <a:xfrm>
            <a:off x="1010510" y="2880766"/>
            <a:ext cx="4680264" cy="3015210"/>
          </a:xfrm>
          <a:prstGeom prst="rect">
            <a:avLst/>
          </a:prstGeom>
          <a:solidFill>
            <a:srgbClr val="95C5C9">
              <a:alpha val="60000"/>
            </a:srgbClr>
          </a:solidFill>
          <a:ln w="2857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a:p>
        </p:txBody>
      </p:sp>
      <p:sp>
        <p:nvSpPr>
          <p:cNvPr id="20" name="Rectangle 19">
            <a:extLst>
              <a:ext uri="{FF2B5EF4-FFF2-40B4-BE49-F238E27FC236}">
                <a16:creationId xmlns:a16="http://schemas.microsoft.com/office/drawing/2014/main" id="{56446B04-74D3-4062-9AB6-A349121A01EF}"/>
              </a:ext>
            </a:extLst>
          </p:cNvPr>
          <p:cNvSpPr/>
          <p:nvPr/>
        </p:nvSpPr>
        <p:spPr>
          <a:xfrm>
            <a:off x="6500813" y="2880766"/>
            <a:ext cx="4679950" cy="3015210"/>
          </a:xfrm>
          <a:prstGeom prst="rect">
            <a:avLst/>
          </a:prstGeom>
          <a:solidFill>
            <a:srgbClr val="95C5C9">
              <a:alpha val="60000"/>
            </a:srgbClr>
          </a:solidFill>
          <a:ln w="2857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a:p>
        </p:txBody>
      </p:sp>
      <p:sp>
        <p:nvSpPr>
          <p:cNvPr id="5" name="Title 4">
            <a:extLst>
              <a:ext uri="{FF2B5EF4-FFF2-40B4-BE49-F238E27FC236}">
                <a16:creationId xmlns:a16="http://schemas.microsoft.com/office/drawing/2014/main" id="{D7CB8B9B-2369-4D7C-9304-72092A907A65}"/>
              </a:ext>
            </a:extLst>
          </p:cNvPr>
          <p:cNvSpPr>
            <a:spLocks noGrp="1"/>
          </p:cNvSpPr>
          <p:nvPr>
            <p:ph type="title" idx="4294967295"/>
          </p:nvPr>
        </p:nvSpPr>
        <p:spPr>
          <a:xfrm>
            <a:off x="658813" y="384175"/>
            <a:ext cx="10209212" cy="774700"/>
          </a:xfrm>
        </p:spPr>
        <p:txBody>
          <a:bodyPr vert="horz"/>
          <a:lstStyle/>
          <a:p>
            <a:endParaRPr lang="LID4096" dirty="0"/>
          </a:p>
        </p:txBody>
      </p:sp>
      <p:sp>
        <p:nvSpPr>
          <p:cNvPr id="17" name="Rectangle 16">
            <a:extLst>
              <a:ext uri="{FF2B5EF4-FFF2-40B4-BE49-F238E27FC236}">
                <a16:creationId xmlns:a16="http://schemas.microsoft.com/office/drawing/2014/main" id="{FE1E8AE2-EA8F-4E35-B3C0-000279AACBA3}"/>
              </a:ext>
            </a:extLst>
          </p:cNvPr>
          <p:cNvSpPr/>
          <p:nvPr/>
        </p:nvSpPr>
        <p:spPr>
          <a:xfrm>
            <a:off x="1010824" y="1785938"/>
            <a:ext cx="4679950" cy="4110038"/>
          </a:xfrm>
          <a:prstGeom prst="rect">
            <a:avLst/>
          </a:prstGeom>
          <a:noFill/>
          <a:ln w="28575" cap="flat">
            <a:solidFill>
              <a:srgbClr val="22777B"/>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a:p>
        </p:txBody>
      </p:sp>
      <p:sp>
        <p:nvSpPr>
          <p:cNvPr id="18" name="Rectangle 17">
            <a:extLst>
              <a:ext uri="{FF2B5EF4-FFF2-40B4-BE49-F238E27FC236}">
                <a16:creationId xmlns:a16="http://schemas.microsoft.com/office/drawing/2014/main" id="{18BAECDF-32E0-4B63-8515-A4E4355C6DDC}"/>
              </a:ext>
            </a:extLst>
          </p:cNvPr>
          <p:cNvSpPr/>
          <p:nvPr/>
        </p:nvSpPr>
        <p:spPr>
          <a:xfrm>
            <a:off x="6500813" y="1785938"/>
            <a:ext cx="4679950" cy="4110038"/>
          </a:xfrm>
          <a:prstGeom prst="rect">
            <a:avLst/>
          </a:prstGeom>
          <a:noFill/>
          <a:ln w="28575" cap="flat">
            <a:solidFill>
              <a:srgbClr val="22777B"/>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a:p>
        </p:txBody>
      </p:sp>
      <p:sp>
        <p:nvSpPr>
          <p:cNvPr id="21" name="Rectangle 20">
            <a:extLst>
              <a:ext uri="{FF2B5EF4-FFF2-40B4-BE49-F238E27FC236}">
                <a16:creationId xmlns:a16="http://schemas.microsoft.com/office/drawing/2014/main" id="{57347746-F7D5-49CD-9B02-5F2047B3EBF7}"/>
              </a:ext>
            </a:extLst>
          </p:cNvPr>
          <p:cNvSpPr/>
          <p:nvPr/>
        </p:nvSpPr>
        <p:spPr>
          <a:xfrm>
            <a:off x="867853" y="1635270"/>
            <a:ext cx="5098473" cy="4411374"/>
          </a:xfrm>
          <a:prstGeom prst="rect">
            <a:avLst/>
          </a:prstGeom>
          <a:solidFill>
            <a:srgbClr val="FFFFFF">
              <a:alpha val="60000"/>
            </a:srgb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en-US"/>
          </a:p>
        </p:txBody>
      </p:sp>
    </p:spTree>
    <p:extLst>
      <p:ext uri="{BB962C8B-B14F-4D97-AF65-F5344CB8AC3E}">
        <p14:creationId xmlns:p14="http://schemas.microsoft.com/office/powerpoint/2010/main" val="25265207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32E4EC-F59A-4CDF-A819-50233960DC19}"/>
              </a:ext>
            </a:extLst>
          </p:cNvPr>
          <p:cNvGraphicFramePr>
            <a:graphicFrameLocks noChangeAspect="1"/>
          </p:cNvGraphicFramePr>
          <p:nvPr>
            <p:custDataLst>
              <p:tags r:id="rId2"/>
            </p:custDataLst>
            <p:extLst>
              <p:ext uri="{D42A27DB-BD31-4B8C-83A1-F6EECF244321}">
                <p14:modId xmlns:p14="http://schemas.microsoft.com/office/powerpoint/2010/main" val="772892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74" name="think-cell Slide" r:id="rId4" imgW="306" imgH="306" progId="TCLayout.ActiveDocument.1">
                  <p:embed/>
                </p:oleObj>
              </mc:Choice>
              <mc:Fallback>
                <p:oleObj name="think-cell Slide" r:id="rId4" imgW="306" imgH="306" progId="TCLayout.ActiveDocument.1">
                  <p:embed/>
                  <p:pic>
                    <p:nvPicPr>
                      <p:cNvPr id="9" name="Object 8" hidden="1">
                        <a:extLst>
                          <a:ext uri="{FF2B5EF4-FFF2-40B4-BE49-F238E27FC236}">
                            <a16:creationId xmlns:a16="http://schemas.microsoft.com/office/drawing/2014/main" id="{B332E4EC-F59A-4CDF-A819-50233960DC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Text Placeholder 20">
            <a:extLst>
              <a:ext uri="{FF2B5EF4-FFF2-40B4-BE49-F238E27FC236}">
                <a16:creationId xmlns:a16="http://schemas.microsoft.com/office/drawing/2014/main" id="{B7FCE755-C78D-4FA7-8463-5D4123CF505C}"/>
              </a:ext>
            </a:extLst>
          </p:cNvPr>
          <p:cNvSpPr>
            <a:spLocks noGrp="1"/>
          </p:cNvSpPr>
          <p:nvPr>
            <p:ph type="body" sz="quarter" idx="20"/>
          </p:nvPr>
        </p:nvSpPr>
        <p:spPr/>
        <p:txBody>
          <a:bodyPr/>
          <a:lstStyle/>
          <a:p>
            <a:endParaRPr lang="nl-NL"/>
          </a:p>
        </p:txBody>
      </p:sp>
      <p:sp>
        <p:nvSpPr>
          <p:cNvPr id="4" name="Footer Placeholder 3">
            <a:extLst>
              <a:ext uri="{FF2B5EF4-FFF2-40B4-BE49-F238E27FC236}">
                <a16:creationId xmlns:a16="http://schemas.microsoft.com/office/drawing/2014/main" id="{C1DAD468-D1AC-4D1F-858C-6F2748FCD42A}"/>
              </a:ext>
            </a:extLst>
          </p:cNvPr>
          <p:cNvSpPr>
            <a:spLocks noGrp="1"/>
          </p:cNvSpPr>
          <p:nvPr>
            <p:ph type="ftr" sz="quarter" idx="3"/>
          </p:nvPr>
        </p:nvSpPr>
        <p:spPr/>
        <p:txBody>
          <a:bodyPr/>
          <a:lstStyle/>
          <a:p>
            <a:r>
              <a:rPr lang="nl-NL" noProof="0"/>
              <a:t>Bron: </a:t>
            </a:r>
          </a:p>
        </p:txBody>
      </p:sp>
      <p:sp>
        <p:nvSpPr>
          <p:cNvPr id="5" name="Slide Number Placeholder 4">
            <a:extLst>
              <a:ext uri="{FF2B5EF4-FFF2-40B4-BE49-F238E27FC236}">
                <a16:creationId xmlns:a16="http://schemas.microsoft.com/office/drawing/2014/main" id="{2D2B27ED-B979-4C00-9B98-A7DED694C777}"/>
              </a:ext>
            </a:extLst>
          </p:cNvPr>
          <p:cNvSpPr>
            <a:spLocks noGrp="1"/>
          </p:cNvSpPr>
          <p:nvPr>
            <p:ph type="sldNum" sz="quarter" idx="12"/>
          </p:nvPr>
        </p:nvSpPr>
        <p:spPr/>
        <p:txBody>
          <a:bodyPr/>
          <a:lstStyle/>
          <a:p>
            <a:fld id="{992CD0B2-8AB2-4C6C-8876-E15753662C9B}" type="slidenum">
              <a:rPr lang="nl-NL" noProof="0" smtClean="0"/>
              <a:pPr/>
              <a:t>9</a:t>
            </a:fld>
            <a:endParaRPr lang="nl-NL" noProof="0"/>
          </a:p>
        </p:txBody>
      </p:sp>
      <p:sp>
        <p:nvSpPr>
          <p:cNvPr id="13" name="Text Placeholder 12">
            <a:extLst>
              <a:ext uri="{FF2B5EF4-FFF2-40B4-BE49-F238E27FC236}">
                <a16:creationId xmlns:a16="http://schemas.microsoft.com/office/drawing/2014/main" id="{DFB2C8DE-D976-4135-8C14-9887C66CABB3}"/>
              </a:ext>
            </a:extLst>
          </p:cNvPr>
          <p:cNvSpPr>
            <a:spLocks noGrp="1"/>
          </p:cNvSpPr>
          <p:nvPr>
            <p:ph type="body" sz="quarter" idx="14"/>
          </p:nvPr>
        </p:nvSpPr>
        <p:spPr/>
        <p:txBody>
          <a:bodyPr/>
          <a:lstStyle/>
          <a:p>
            <a:endParaRPr lang="nl-NL" dirty="0"/>
          </a:p>
        </p:txBody>
      </p:sp>
      <p:sp>
        <p:nvSpPr>
          <p:cNvPr id="7" name="Title 6">
            <a:extLst>
              <a:ext uri="{FF2B5EF4-FFF2-40B4-BE49-F238E27FC236}">
                <a16:creationId xmlns:a16="http://schemas.microsoft.com/office/drawing/2014/main" id="{1864530F-85E8-43F9-8AB2-C7D5C623B765}"/>
              </a:ext>
            </a:extLst>
          </p:cNvPr>
          <p:cNvSpPr>
            <a:spLocks noGrp="1"/>
          </p:cNvSpPr>
          <p:nvPr>
            <p:ph type="title"/>
          </p:nvPr>
        </p:nvSpPr>
        <p:spPr/>
        <p:txBody>
          <a:bodyPr vert="horz"/>
          <a:lstStyle/>
          <a:p>
            <a:r>
              <a:rPr lang="nl-NL" dirty="0"/>
              <a:t>Hoe werkt deze oefencase</a:t>
            </a:r>
          </a:p>
        </p:txBody>
      </p:sp>
      <p:pic>
        <p:nvPicPr>
          <p:cNvPr id="6" name="Graphic 5" descr="Male profile with solid fill">
            <a:extLst>
              <a:ext uri="{FF2B5EF4-FFF2-40B4-BE49-F238E27FC236}">
                <a16:creationId xmlns:a16="http://schemas.microsoft.com/office/drawing/2014/main" id="{841C1B28-498B-48F4-BF28-639945C0E507}"/>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391473" y="2909255"/>
            <a:ext cx="2322944" cy="2322944"/>
          </a:xfrm>
          <a:prstGeom prst="rect">
            <a:avLst/>
          </a:prstGeom>
        </p:spPr>
      </p:pic>
      <p:sp>
        <p:nvSpPr>
          <p:cNvPr id="8" name="Speech Bubble: Rectangle 7">
            <a:extLst>
              <a:ext uri="{FF2B5EF4-FFF2-40B4-BE49-F238E27FC236}">
                <a16:creationId xmlns:a16="http://schemas.microsoft.com/office/drawing/2014/main" id="{2EC348A6-0E90-4835-A26C-2D57AA74357D}"/>
              </a:ext>
            </a:extLst>
          </p:cNvPr>
          <p:cNvSpPr/>
          <p:nvPr/>
        </p:nvSpPr>
        <p:spPr>
          <a:xfrm>
            <a:off x="4257964" y="1766793"/>
            <a:ext cx="6262254" cy="3538632"/>
          </a:xfrm>
          <a:prstGeom prst="wedgeRectCallout">
            <a:avLst>
              <a:gd name="adj1" fmla="val -61458"/>
              <a:gd name="adj2" fmla="val 16712"/>
            </a:avLst>
          </a:prstGeom>
          <a:solidFill>
            <a:schemeClr val="bg1">
              <a:lumMod val="95000"/>
            </a:schemeClr>
          </a:solidFill>
          <a:ln w="4266" cap="flat">
            <a:solidFill>
              <a:schemeClr val="bg1">
                <a:lumMod val="85000"/>
              </a:schemeClr>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nSpc>
                <a:spcPct val="100000"/>
              </a:lnSpc>
              <a:buNone/>
            </a:pPr>
            <a:r>
              <a:rPr lang="nl-NL" sz="1600" dirty="0"/>
              <a:t>Voordat je met de oefencase begint is het nuttig het volgende te weten:</a:t>
            </a:r>
          </a:p>
          <a:p>
            <a:pPr>
              <a:lnSpc>
                <a:spcPct val="100000"/>
              </a:lnSpc>
            </a:pPr>
            <a:r>
              <a:rPr lang="nl-NL" sz="1600" dirty="0"/>
              <a:t>Deze oefencase omvat 7 vragen, die je slide voor slide zult doorlopen.</a:t>
            </a:r>
          </a:p>
          <a:p>
            <a:pPr>
              <a:lnSpc>
                <a:spcPct val="100000"/>
              </a:lnSpc>
            </a:pPr>
            <a:r>
              <a:rPr lang="nl-NL" sz="1600" dirty="0"/>
              <a:t>Telkens na de vraag is er een slide met een ‘excellent’ en een ‘onvoldoende’ antwoord. Dit geeft jouw handvatten om te bepalen wat sterke en minder sterke kanten zijn aan jouw antwoord. </a:t>
            </a:r>
          </a:p>
          <a:p>
            <a:pPr>
              <a:lnSpc>
                <a:spcPct val="100000"/>
              </a:lnSpc>
            </a:pPr>
            <a:r>
              <a:rPr lang="nl-NL" sz="1600" dirty="0"/>
              <a:t>Het excellente antwoord is zoals het woord aangeeft excellent. Tijdens een regulier case interview zul je de ene vraag beter beantwoorden dan de andere. We verwachten niet overal een excellente score. </a:t>
            </a:r>
          </a:p>
          <a:p>
            <a:pPr>
              <a:lnSpc>
                <a:spcPct val="100000"/>
              </a:lnSpc>
            </a:pPr>
            <a:r>
              <a:rPr lang="nl-NL" sz="1600" dirty="0"/>
              <a:t>Bij sommige vragen worden er hints gegeven. Je kunt er zelf voor kiezen om de vraag eerst zonder hint proberen te beantwoorden.</a:t>
            </a:r>
          </a:p>
          <a:p>
            <a:pPr>
              <a:lnSpc>
                <a:spcPct val="100000"/>
              </a:lnSpc>
            </a:pPr>
            <a:r>
              <a:rPr lang="nl-NL" sz="1600" dirty="0"/>
              <a:t>De oefencase is langer dan dat de case tijdens je sollicitatierondes zal zijn. Het is dan ook niet nodig om deze in een half uur af te hebben.</a:t>
            </a:r>
          </a:p>
          <a:p>
            <a:pPr marL="0" indent="0">
              <a:lnSpc>
                <a:spcPct val="100000"/>
              </a:lnSpc>
              <a:buNone/>
            </a:pPr>
            <a:r>
              <a:rPr lang="nl-NL" sz="1600" dirty="0"/>
              <a:t>Veel succes en plezier!</a:t>
            </a:r>
          </a:p>
        </p:txBody>
      </p:sp>
    </p:spTree>
    <p:extLst>
      <p:ext uri="{BB962C8B-B14F-4D97-AF65-F5344CB8AC3E}">
        <p14:creationId xmlns:p14="http://schemas.microsoft.com/office/powerpoint/2010/main" val="32043899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MM_SLIDE_TYPE" val="6"/>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w="4266" cap="flat">
          <a:noFill/>
          <a:prstDash val="solid"/>
          <a:miter/>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defRPr smtClean="0"/>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3.06" id="{FB9ECE5C-D34D-46BF-BB96-4E66ADF4739F}" vid="{830D423E-38E2-429D-9773-F58E793AE5C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a PowerPoint Sjabloon - it's public - v 3.06</Template>
  <TotalTime>0</TotalTime>
  <Words>6005</Words>
  <Application>Microsoft Office PowerPoint</Application>
  <PresentationFormat>Widescreen</PresentationFormat>
  <Paragraphs>529</Paragraphs>
  <Slides>30</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5" baseType="lpstr">
      <vt:lpstr>Calibri</vt:lpstr>
      <vt:lpstr>Corbel</vt:lpstr>
      <vt:lpstr>Wingdings</vt:lpstr>
      <vt:lpstr>itspublic 20200925</vt:lpstr>
      <vt:lpstr>think-cell Slide</vt:lpstr>
      <vt:lpstr>Case interview bij It’s Public  uitleg en oefencase</vt:lpstr>
      <vt:lpstr>Algemene introductie</vt:lpstr>
      <vt:lpstr>Case interviews zijn belangrijk onderdeel van het sollicitatieproces van It’s Public</vt:lpstr>
      <vt:lpstr>PowerPoint Presentation</vt:lpstr>
      <vt:lpstr>Hoe ziet een case interview eruit?</vt:lpstr>
      <vt:lpstr>Wat maakt een goed case interview?</vt:lpstr>
      <vt:lpstr>Hoe voor te bereiden op een case interview?</vt:lpstr>
      <vt:lpstr>PowerPoint Presentation</vt:lpstr>
      <vt:lpstr>Hoe werkt deze oefenca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ot slot: vond je dit leuk? Dan zit je goed bij It’s Public!</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oorbereiding op case interview</dc:title>
  <dc:creator>Thijs Jacobs</dc:creator>
  <cp:lastModifiedBy>Thijs Jacobs</cp:lastModifiedBy>
  <cp:revision>47</cp:revision>
  <dcterms:created xsi:type="dcterms:W3CDTF">2022-01-06T07:33:57Z</dcterms:created>
  <dcterms:modified xsi:type="dcterms:W3CDTF">2022-02-07T15:25:10Z</dcterms:modified>
</cp:coreProperties>
</file>